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sldIdLst>
    <p:sldId id="1693" r:id="rId5"/>
    <p:sldId id="1728" r:id="rId6"/>
    <p:sldId id="1736" r:id="rId7"/>
    <p:sldId id="1729" r:id="rId8"/>
    <p:sldId id="1730" r:id="rId9"/>
    <p:sldId id="1731" r:id="rId10"/>
    <p:sldId id="1732" r:id="rId11"/>
    <p:sldId id="1733" r:id="rId12"/>
    <p:sldId id="1738" r:id="rId13"/>
    <p:sldId id="1734" r:id="rId14"/>
    <p:sldId id="1737" r:id="rId15"/>
    <p:sldId id="1735" r:id="rId16"/>
    <p:sldId id="399" r:id="rId17"/>
    <p:sldId id="259" r:id="rId18"/>
    <p:sldId id="386" r:id="rId19"/>
    <p:sldId id="420" r:id="rId20"/>
    <p:sldId id="392" r:id="rId21"/>
    <p:sldId id="260" r:id="rId22"/>
    <p:sldId id="261" r:id="rId23"/>
    <p:sldId id="268" r:id="rId24"/>
    <p:sldId id="419" r:id="rId25"/>
    <p:sldId id="398" r:id="rId26"/>
    <p:sldId id="263" r:id="rId27"/>
    <p:sldId id="293" r:id="rId28"/>
    <p:sldId id="292" r:id="rId29"/>
    <p:sldId id="413" r:id="rId30"/>
    <p:sldId id="1636" r:id="rId31"/>
    <p:sldId id="1649" r:id="rId32"/>
    <p:sldId id="1650" r:id="rId33"/>
    <p:sldId id="377" r:id="rId34"/>
    <p:sldId id="379"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B697A3DA-1250-4D5E-AF28-0755A69A49D8}">
          <p14:sldIdLst>
            <p14:sldId id="1693"/>
            <p14:sldId id="1728"/>
            <p14:sldId id="1736"/>
            <p14:sldId id="1729"/>
            <p14:sldId id="1730"/>
            <p14:sldId id="1731"/>
            <p14:sldId id="1732"/>
            <p14:sldId id="1733"/>
            <p14:sldId id="1738"/>
            <p14:sldId id="1734"/>
            <p14:sldId id="1737"/>
            <p14:sldId id="1735"/>
            <p14:sldId id="399"/>
          </p14:sldIdLst>
        </p14:section>
        <p14:section name="Toolkit Slides" id="{CA7BEC1B-A3E1-4F7B-AAED-BFFDDC75D794}">
          <p14:sldIdLst>
            <p14:sldId id="259"/>
            <p14:sldId id="386"/>
            <p14:sldId id="420"/>
            <p14:sldId id="392"/>
            <p14:sldId id="260"/>
            <p14:sldId id="261"/>
            <p14:sldId id="268"/>
            <p14:sldId id="419"/>
            <p14:sldId id="398"/>
            <p14:sldId id="263"/>
            <p14:sldId id="293"/>
            <p14:sldId id="292"/>
            <p14:sldId id="413"/>
            <p14:sldId id="1636"/>
            <p14:sldId id="1649"/>
            <p14:sldId id="1650"/>
            <p14:sldId id="377"/>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02AD0A-F908-1843-85AA-3CF1F31EA912}" name="Jason Jia" initials="" userId="S::jasonjia@mit.edu::f6ce0aa3-8851-483f-8604-c52a2d3a1c4d" providerId="AD"/>
  <p188:author id="{7B2EE38A-D335-3A49-EEDD-2EDDBB768101}" name="Stefan Brown" initials="SB" userId="S::stefan.brown@brightcarbon.com::252352bc-e6ff-405e-b10a-872912c68ef1" providerId="AD"/>
  <p188:author id="{7A947ABB-9DE3-488E-2938-717E949F94AE}" name="Stephanie Sha" initials="SS" userId="S::stsha@mit.edu::70090cae-ba9d-43dd-b4f4-3ce4b76a38d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0B537"/>
    <a:srgbClr val="ED7700"/>
    <a:srgbClr val="EE0044"/>
    <a:srgbClr val="E7ECF0"/>
    <a:srgbClr val="E6ECF0"/>
    <a:srgbClr val="5457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69717-4718-AF46-8776-8684A7C744B2}" v="92" dt="2023-12-07T04:34:07.876"/>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32" autoAdjust="0"/>
    <p:restoredTop sz="94701" autoAdjust="0"/>
  </p:normalViewPr>
  <p:slideViewPr>
    <p:cSldViewPr snapToGrid="0">
      <p:cViewPr varScale="1">
        <p:scale>
          <a:sx n="102" d="100"/>
          <a:sy n="102" d="100"/>
        </p:scale>
        <p:origin x="192" y="344"/>
      </p:cViewPr>
      <p:guideLst/>
    </p:cSldViewPr>
  </p:slideViewPr>
  <p:outlineViewPr>
    <p:cViewPr>
      <p:scale>
        <a:sx n="33" d="100"/>
        <a:sy n="33" d="100"/>
      </p:scale>
      <p:origin x="0" y="-32988"/>
    </p:cViewPr>
  </p:outlineViewPr>
  <p:notesTextViewPr>
    <p:cViewPr>
      <p:scale>
        <a:sx n="3" d="2"/>
        <a:sy n="3" d="2"/>
      </p:scale>
      <p:origin x="0" y="0"/>
    </p:cViewPr>
  </p:notesTextViewPr>
  <p:sorterViewPr>
    <p:cViewPr>
      <p:scale>
        <a:sx n="100" d="100"/>
        <a:sy n="100" d="100"/>
      </p:scale>
      <p:origin x="0" y="-3350"/>
    </p:cViewPr>
  </p:sorterViewPr>
  <p:notesViewPr>
    <p:cSldViewPr snapToGrid="0" showGuides="1">
      <p:cViewPr varScale="1">
        <p:scale>
          <a:sx n="80" d="100"/>
          <a:sy n="80" d="100"/>
        </p:scale>
        <p:origin x="3144"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on Jia" userId="f6ce0aa3-8851-483f-8604-c52a2d3a1c4d" providerId="ADAL" clId="{14269717-4718-AF46-8776-8684A7C744B2}"/>
    <pc:docChg chg="undo redo custSel addSld delSld modSld sldOrd modSection">
      <pc:chgData name="Jason Jia" userId="f6ce0aa3-8851-483f-8604-c52a2d3a1c4d" providerId="ADAL" clId="{14269717-4718-AF46-8776-8684A7C744B2}" dt="2023-12-07T04:34:27.356" v="2084" actId="1076"/>
      <pc:docMkLst>
        <pc:docMk/>
      </pc:docMkLst>
      <pc:sldChg chg="del">
        <pc:chgData name="Jason Jia" userId="f6ce0aa3-8851-483f-8604-c52a2d3a1c4d" providerId="ADAL" clId="{14269717-4718-AF46-8776-8684A7C744B2}" dt="2023-12-05T16:42:07.583" v="379" actId="2696"/>
        <pc:sldMkLst>
          <pc:docMk/>
          <pc:sldMk cId="427115976" sldId="258"/>
        </pc:sldMkLst>
      </pc:sldChg>
      <pc:sldChg chg="add del ord">
        <pc:chgData name="Jason Jia" userId="f6ce0aa3-8851-483f-8604-c52a2d3a1c4d" providerId="ADAL" clId="{14269717-4718-AF46-8776-8684A7C744B2}" dt="2023-12-05T21:25:11.144" v="1907" actId="20578"/>
        <pc:sldMkLst>
          <pc:docMk/>
          <pc:sldMk cId="2739682523" sldId="259"/>
        </pc:sldMkLst>
      </pc:sldChg>
      <pc:sldChg chg="ord">
        <pc:chgData name="Jason Jia" userId="f6ce0aa3-8851-483f-8604-c52a2d3a1c4d" providerId="ADAL" clId="{14269717-4718-AF46-8776-8684A7C744B2}" dt="2023-12-05T21:25:11.144" v="1907" actId="20578"/>
        <pc:sldMkLst>
          <pc:docMk/>
          <pc:sldMk cId="3679215424" sldId="260"/>
        </pc:sldMkLst>
      </pc:sldChg>
      <pc:sldChg chg="ord">
        <pc:chgData name="Jason Jia" userId="f6ce0aa3-8851-483f-8604-c52a2d3a1c4d" providerId="ADAL" clId="{14269717-4718-AF46-8776-8684A7C744B2}" dt="2023-12-05T21:25:11.144" v="1907" actId="20578"/>
        <pc:sldMkLst>
          <pc:docMk/>
          <pc:sldMk cId="2492979931" sldId="261"/>
        </pc:sldMkLst>
      </pc:sldChg>
      <pc:sldChg chg="del">
        <pc:chgData name="Jason Jia" userId="f6ce0aa3-8851-483f-8604-c52a2d3a1c4d" providerId="ADAL" clId="{14269717-4718-AF46-8776-8684A7C744B2}" dt="2023-12-05T21:21:13.100" v="1887" actId="2696"/>
        <pc:sldMkLst>
          <pc:docMk/>
          <pc:sldMk cId="252206406" sldId="262"/>
        </pc:sldMkLst>
      </pc:sldChg>
      <pc:sldChg chg="ord">
        <pc:chgData name="Jason Jia" userId="f6ce0aa3-8851-483f-8604-c52a2d3a1c4d" providerId="ADAL" clId="{14269717-4718-AF46-8776-8684A7C744B2}" dt="2023-12-05T21:25:11.144" v="1907" actId="20578"/>
        <pc:sldMkLst>
          <pc:docMk/>
          <pc:sldMk cId="2954790044" sldId="263"/>
        </pc:sldMkLst>
      </pc:sldChg>
      <pc:sldChg chg="del">
        <pc:chgData name="Jason Jia" userId="f6ce0aa3-8851-483f-8604-c52a2d3a1c4d" providerId="ADAL" clId="{14269717-4718-AF46-8776-8684A7C744B2}" dt="2023-12-05T16:42:06.412" v="378" actId="2696"/>
        <pc:sldMkLst>
          <pc:docMk/>
          <pc:sldMk cId="3283670398" sldId="264"/>
        </pc:sldMkLst>
      </pc:sldChg>
      <pc:sldChg chg="modSp mod ord">
        <pc:chgData name="Jason Jia" userId="f6ce0aa3-8851-483f-8604-c52a2d3a1c4d" providerId="ADAL" clId="{14269717-4718-AF46-8776-8684A7C744B2}" dt="2023-12-05T21:25:11.144" v="1907" actId="20578"/>
        <pc:sldMkLst>
          <pc:docMk/>
          <pc:sldMk cId="2131980383" sldId="268"/>
        </pc:sldMkLst>
        <pc:spChg chg="mod">
          <ac:chgData name="Jason Jia" userId="f6ce0aa3-8851-483f-8604-c52a2d3a1c4d" providerId="ADAL" clId="{14269717-4718-AF46-8776-8684A7C744B2}" dt="2023-12-05T17:34:26.957" v="384"/>
          <ac:spMkLst>
            <pc:docMk/>
            <pc:sldMk cId="2131980383" sldId="268"/>
            <ac:spMk id="12" creationId="{F1067E5C-26F9-D682-ACDC-45885E4CA996}"/>
          </ac:spMkLst>
        </pc:spChg>
      </pc:sldChg>
      <pc:sldChg chg="del">
        <pc:chgData name="Jason Jia" userId="f6ce0aa3-8851-483f-8604-c52a2d3a1c4d" providerId="ADAL" clId="{14269717-4718-AF46-8776-8684A7C744B2}" dt="2023-12-05T22:21:01.209" v="1936" actId="2696"/>
        <pc:sldMkLst>
          <pc:docMk/>
          <pc:sldMk cId="1265933106" sldId="287"/>
        </pc:sldMkLst>
      </pc:sldChg>
      <pc:sldChg chg="ord">
        <pc:chgData name="Jason Jia" userId="f6ce0aa3-8851-483f-8604-c52a2d3a1c4d" providerId="ADAL" clId="{14269717-4718-AF46-8776-8684A7C744B2}" dt="2023-12-05T21:25:11.144" v="1907" actId="20578"/>
        <pc:sldMkLst>
          <pc:docMk/>
          <pc:sldMk cId="1769599895" sldId="292"/>
        </pc:sldMkLst>
      </pc:sldChg>
      <pc:sldChg chg="ord">
        <pc:chgData name="Jason Jia" userId="f6ce0aa3-8851-483f-8604-c52a2d3a1c4d" providerId="ADAL" clId="{14269717-4718-AF46-8776-8684A7C744B2}" dt="2023-12-05T21:25:11.144" v="1907" actId="20578"/>
        <pc:sldMkLst>
          <pc:docMk/>
          <pc:sldMk cId="2562973370" sldId="293"/>
        </pc:sldMkLst>
      </pc:sldChg>
      <pc:sldChg chg="del">
        <pc:chgData name="Jason Jia" userId="f6ce0aa3-8851-483f-8604-c52a2d3a1c4d" providerId="ADAL" clId="{14269717-4718-AF46-8776-8684A7C744B2}" dt="2023-12-05T22:20:59.584" v="1935" actId="2696"/>
        <pc:sldMkLst>
          <pc:docMk/>
          <pc:sldMk cId="1960540569" sldId="365"/>
        </pc:sldMkLst>
      </pc:sldChg>
      <pc:sldChg chg="ord">
        <pc:chgData name="Jason Jia" userId="f6ce0aa3-8851-483f-8604-c52a2d3a1c4d" providerId="ADAL" clId="{14269717-4718-AF46-8776-8684A7C744B2}" dt="2023-12-05T21:25:11.144" v="1907" actId="20578"/>
        <pc:sldMkLst>
          <pc:docMk/>
          <pc:sldMk cId="2761950223" sldId="386"/>
        </pc:sldMkLst>
      </pc:sldChg>
      <pc:sldChg chg="del">
        <pc:chgData name="Jason Jia" userId="f6ce0aa3-8851-483f-8604-c52a2d3a1c4d" providerId="ADAL" clId="{14269717-4718-AF46-8776-8684A7C744B2}" dt="2023-12-05T21:21:13.117" v="1888" actId="2696"/>
        <pc:sldMkLst>
          <pc:docMk/>
          <pc:sldMk cId="432655913" sldId="387"/>
        </pc:sldMkLst>
      </pc:sldChg>
      <pc:sldChg chg="del">
        <pc:chgData name="Jason Jia" userId="f6ce0aa3-8851-483f-8604-c52a2d3a1c4d" providerId="ADAL" clId="{14269717-4718-AF46-8776-8684A7C744B2}" dt="2023-12-05T22:08:30.997" v="1931" actId="2696"/>
        <pc:sldMkLst>
          <pc:docMk/>
          <pc:sldMk cId="3883995719" sldId="388"/>
        </pc:sldMkLst>
      </pc:sldChg>
      <pc:sldChg chg="ord">
        <pc:chgData name="Jason Jia" userId="f6ce0aa3-8851-483f-8604-c52a2d3a1c4d" providerId="ADAL" clId="{14269717-4718-AF46-8776-8684A7C744B2}" dt="2023-12-05T21:25:11.144" v="1907" actId="20578"/>
        <pc:sldMkLst>
          <pc:docMk/>
          <pc:sldMk cId="3991653226" sldId="392"/>
        </pc:sldMkLst>
      </pc:sldChg>
      <pc:sldChg chg="del">
        <pc:chgData name="Jason Jia" userId="f6ce0aa3-8851-483f-8604-c52a2d3a1c4d" providerId="ADAL" clId="{14269717-4718-AF46-8776-8684A7C744B2}" dt="2023-12-05T22:08:34.990" v="1933" actId="2696"/>
        <pc:sldMkLst>
          <pc:docMk/>
          <pc:sldMk cId="990139114" sldId="394"/>
        </pc:sldMkLst>
      </pc:sldChg>
      <pc:sldChg chg="del">
        <pc:chgData name="Jason Jia" userId="f6ce0aa3-8851-483f-8604-c52a2d3a1c4d" providerId="ADAL" clId="{14269717-4718-AF46-8776-8684A7C744B2}" dt="2023-12-05T22:08:35.003" v="1934" actId="2696"/>
        <pc:sldMkLst>
          <pc:docMk/>
          <pc:sldMk cId="3255472784" sldId="395"/>
        </pc:sldMkLst>
      </pc:sldChg>
      <pc:sldChg chg="ord">
        <pc:chgData name="Jason Jia" userId="f6ce0aa3-8851-483f-8604-c52a2d3a1c4d" providerId="ADAL" clId="{14269717-4718-AF46-8776-8684A7C744B2}" dt="2023-12-05T21:25:11.144" v="1907" actId="20578"/>
        <pc:sldMkLst>
          <pc:docMk/>
          <pc:sldMk cId="4111642045" sldId="398"/>
        </pc:sldMkLst>
      </pc:sldChg>
      <pc:sldChg chg="addSp delSp modSp add mod">
        <pc:chgData name="Jason Jia" userId="f6ce0aa3-8851-483f-8604-c52a2d3a1c4d" providerId="ADAL" clId="{14269717-4718-AF46-8776-8684A7C744B2}" dt="2023-12-05T21:32:23.988" v="1929"/>
        <pc:sldMkLst>
          <pc:docMk/>
          <pc:sldMk cId="2162732149" sldId="399"/>
        </pc:sldMkLst>
        <pc:spChg chg="add del">
          <ac:chgData name="Jason Jia" userId="f6ce0aa3-8851-483f-8604-c52a2d3a1c4d" providerId="ADAL" clId="{14269717-4718-AF46-8776-8684A7C744B2}" dt="2023-12-05T21:32:02.218" v="1928" actId="478"/>
          <ac:spMkLst>
            <pc:docMk/>
            <pc:sldMk cId="2162732149" sldId="399"/>
            <ac:spMk id="2" creationId="{EAD3A138-DDB6-BF39-CE11-7D93A1A7824E}"/>
          </ac:spMkLst>
        </pc:spChg>
        <pc:picChg chg="mod">
          <ac:chgData name="Jason Jia" userId="f6ce0aa3-8851-483f-8604-c52a2d3a1c4d" providerId="ADAL" clId="{14269717-4718-AF46-8776-8684A7C744B2}" dt="2023-12-05T21:32:23.988" v="1929"/>
          <ac:picMkLst>
            <pc:docMk/>
            <pc:sldMk cId="2162732149" sldId="399"/>
            <ac:picMk id="3074" creationId="{63DF78B6-99DE-891B-886E-EDC062DA099E}"/>
          </ac:picMkLst>
        </pc:picChg>
      </pc:sldChg>
      <pc:sldChg chg="addSp delSp modSp del mod ord">
        <pc:chgData name="Jason Jia" userId="f6ce0aa3-8851-483f-8604-c52a2d3a1c4d" providerId="ADAL" clId="{14269717-4718-AF46-8776-8684A7C744B2}" dt="2023-12-05T21:24:46.219" v="1899" actId="2696"/>
        <pc:sldMkLst>
          <pc:docMk/>
          <pc:sldMk cId="3522857771" sldId="399"/>
        </pc:sldMkLst>
        <pc:spChg chg="del">
          <ac:chgData name="Jason Jia" userId="f6ce0aa3-8851-483f-8604-c52a2d3a1c4d" providerId="ADAL" clId="{14269717-4718-AF46-8776-8684A7C744B2}" dt="2023-12-05T21:24:25.575" v="1893" actId="478"/>
          <ac:spMkLst>
            <pc:docMk/>
            <pc:sldMk cId="3522857771" sldId="399"/>
            <ac:spMk id="4" creationId="{BE3EB3CB-504F-5C9F-973C-CEF8978DCA51}"/>
          </ac:spMkLst>
        </pc:spChg>
        <pc:spChg chg="add del mod">
          <ac:chgData name="Jason Jia" userId="f6ce0aa3-8851-483f-8604-c52a2d3a1c4d" providerId="ADAL" clId="{14269717-4718-AF46-8776-8684A7C744B2}" dt="2023-12-05T21:24:35.334" v="1898" actId="478"/>
          <ac:spMkLst>
            <pc:docMk/>
            <pc:sldMk cId="3522857771" sldId="399"/>
            <ac:spMk id="6" creationId="{19B7F293-6EED-A9B8-3238-04E52B71FF3A}"/>
          </ac:spMkLst>
        </pc:spChg>
        <pc:picChg chg="del">
          <ac:chgData name="Jason Jia" userId="f6ce0aa3-8851-483f-8604-c52a2d3a1c4d" providerId="ADAL" clId="{14269717-4718-AF46-8776-8684A7C744B2}" dt="2023-12-05T21:24:27.007" v="1894" actId="478"/>
          <ac:picMkLst>
            <pc:docMk/>
            <pc:sldMk cId="3522857771" sldId="399"/>
            <ac:picMk id="7" creationId="{A13C4DF6-1E99-9AA7-876B-6DEF685A8E31}"/>
          </ac:picMkLst>
        </pc:picChg>
        <pc:picChg chg="add mod">
          <ac:chgData name="Jason Jia" userId="f6ce0aa3-8851-483f-8604-c52a2d3a1c4d" providerId="ADAL" clId="{14269717-4718-AF46-8776-8684A7C744B2}" dt="2023-12-05T21:24:32.732" v="1897" actId="167"/>
          <ac:picMkLst>
            <pc:docMk/>
            <pc:sldMk cId="3522857771" sldId="399"/>
            <ac:picMk id="3074" creationId="{63DF78B6-99DE-891B-886E-EDC062DA099E}"/>
          </ac:picMkLst>
        </pc:picChg>
      </pc:sldChg>
      <pc:sldChg chg="del">
        <pc:chgData name="Jason Jia" userId="f6ce0aa3-8851-483f-8604-c52a2d3a1c4d" providerId="ADAL" clId="{14269717-4718-AF46-8776-8684A7C744B2}" dt="2023-12-05T22:08:31.011" v="1932" actId="2696"/>
        <pc:sldMkLst>
          <pc:docMk/>
          <pc:sldMk cId="1767502119" sldId="410"/>
        </pc:sldMkLst>
      </pc:sldChg>
      <pc:sldChg chg="del">
        <pc:chgData name="Jason Jia" userId="f6ce0aa3-8851-483f-8604-c52a2d3a1c4d" providerId="ADAL" clId="{14269717-4718-AF46-8776-8684A7C744B2}" dt="2023-12-05T21:25:01.998" v="1906" actId="2696"/>
        <pc:sldMkLst>
          <pc:docMk/>
          <pc:sldMk cId="3881045694" sldId="414"/>
        </pc:sldMkLst>
      </pc:sldChg>
      <pc:sldChg chg="ord">
        <pc:chgData name="Jason Jia" userId="f6ce0aa3-8851-483f-8604-c52a2d3a1c4d" providerId="ADAL" clId="{14269717-4718-AF46-8776-8684A7C744B2}" dt="2023-12-05T21:25:11.144" v="1907" actId="20578"/>
        <pc:sldMkLst>
          <pc:docMk/>
          <pc:sldMk cId="4285285986" sldId="419"/>
        </pc:sldMkLst>
      </pc:sldChg>
      <pc:sldChg chg="ord">
        <pc:chgData name="Jason Jia" userId="f6ce0aa3-8851-483f-8604-c52a2d3a1c4d" providerId="ADAL" clId="{14269717-4718-AF46-8776-8684A7C744B2}" dt="2023-12-05T21:25:11.144" v="1907" actId="20578"/>
        <pc:sldMkLst>
          <pc:docMk/>
          <pc:sldMk cId="3025483986" sldId="420"/>
        </pc:sldMkLst>
      </pc:sldChg>
      <pc:sldChg chg="del">
        <pc:chgData name="Jason Jia" userId="f6ce0aa3-8851-483f-8604-c52a2d3a1c4d" providerId="ADAL" clId="{14269717-4718-AF46-8776-8684A7C744B2}" dt="2023-12-05T15:47:44.128" v="5" actId="2696"/>
        <pc:sldMkLst>
          <pc:docMk/>
          <pc:sldMk cId="2995131627" sldId="1639"/>
        </pc:sldMkLst>
      </pc:sldChg>
      <pc:sldChg chg="del">
        <pc:chgData name="Jason Jia" userId="f6ce0aa3-8851-483f-8604-c52a2d3a1c4d" providerId="ADAL" clId="{14269717-4718-AF46-8776-8684A7C744B2}" dt="2023-12-05T15:58:21.792" v="318" actId="2696"/>
        <pc:sldMkLst>
          <pc:docMk/>
          <pc:sldMk cId="4192275237" sldId="1640"/>
        </pc:sldMkLst>
      </pc:sldChg>
      <pc:sldChg chg="del">
        <pc:chgData name="Jason Jia" userId="f6ce0aa3-8851-483f-8604-c52a2d3a1c4d" providerId="ADAL" clId="{14269717-4718-AF46-8776-8684A7C744B2}" dt="2023-12-05T15:58:21.800" v="319" actId="2696"/>
        <pc:sldMkLst>
          <pc:docMk/>
          <pc:sldMk cId="1069975684" sldId="1641"/>
        </pc:sldMkLst>
      </pc:sldChg>
      <pc:sldChg chg="del">
        <pc:chgData name="Jason Jia" userId="f6ce0aa3-8851-483f-8604-c52a2d3a1c4d" providerId="ADAL" clId="{14269717-4718-AF46-8776-8684A7C744B2}" dt="2023-12-05T15:58:21.807" v="320" actId="2696"/>
        <pc:sldMkLst>
          <pc:docMk/>
          <pc:sldMk cId="3933196731" sldId="1642"/>
        </pc:sldMkLst>
      </pc:sldChg>
      <pc:sldChg chg="del">
        <pc:chgData name="Jason Jia" userId="f6ce0aa3-8851-483f-8604-c52a2d3a1c4d" providerId="ADAL" clId="{14269717-4718-AF46-8776-8684A7C744B2}" dt="2023-12-05T15:58:21.821" v="322" actId="2696"/>
        <pc:sldMkLst>
          <pc:docMk/>
          <pc:sldMk cId="984400613" sldId="1643"/>
        </pc:sldMkLst>
      </pc:sldChg>
      <pc:sldChg chg="del">
        <pc:chgData name="Jason Jia" userId="f6ce0aa3-8851-483f-8604-c52a2d3a1c4d" providerId="ADAL" clId="{14269717-4718-AF46-8776-8684A7C744B2}" dt="2023-12-05T15:58:21.833" v="323" actId="2696"/>
        <pc:sldMkLst>
          <pc:docMk/>
          <pc:sldMk cId="3240860192" sldId="1644"/>
        </pc:sldMkLst>
      </pc:sldChg>
      <pc:sldChg chg="del">
        <pc:chgData name="Jason Jia" userId="f6ce0aa3-8851-483f-8604-c52a2d3a1c4d" providerId="ADAL" clId="{14269717-4718-AF46-8776-8684A7C744B2}" dt="2023-12-05T15:58:21.848" v="324" actId="2696"/>
        <pc:sldMkLst>
          <pc:docMk/>
          <pc:sldMk cId="3683703138" sldId="1645"/>
        </pc:sldMkLst>
      </pc:sldChg>
      <pc:sldChg chg="del">
        <pc:chgData name="Jason Jia" userId="f6ce0aa3-8851-483f-8604-c52a2d3a1c4d" providerId="ADAL" clId="{14269717-4718-AF46-8776-8684A7C744B2}" dt="2023-12-05T22:08:30.984" v="1930" actId="2696"/>
        <pc:sldMkLst>
          <pc:docMk/>
          <pc:sldMk cId="821528711" sldId="1646"/>
        </pc:sldMkLst>
      </pc:sldChg>
      <pc:sldChg chg="del">
        <pc:chgData name="Jason Jia" userId="f6ce0aa3-8851-483f-8604-c52a2d3a1c4d" providerId="ADAL" clId="{14269717-4718-AF46-8776-8684A7C744B2}" dt="2023-12-05T21:24:59.986" v="1904" actId="2696"/>
        <pc:sldMkLst>
          <pc:docMk/>
          <pc:sldMk cId="3304281470" sldId="1651"/>
        </pc:sldMkLst>
      </pc:sldChg>
      <pc:sldChg chg="del">
        <pc:chgData name="Jason Jia" userId="f6ce0aa3-8851-483f-8604-c52a2d3a1c4d" providerId="ADAL" clId="{14269717-4718-AF46-8776-8684A7C744B2}" dt="2023-12-05T21:24:59.987" v="1905" actId="2696"/>
        <pc:sldMkLst>
          <pc:docMk/>
          <pc:sldMk cId="3728068535" sldId="1652"/>
        </pc:sldMkLst>
      </pc:sldChg>
      <pc:sldChg chg="del">
        <pc:chgData name="Jason Jia" userId="f6ce0aa3-8851-483f-8604-c52a2d3a1c4d" providerId="ADAL" clId="{14269717-4718-AF46-8776-8684A7C744B2}" dt="2023-12-05T21:24:59.983" v="1902" actId="2696"/>
        <pc:sldMkLst>
          <pc:docMk/>
          <pc:sldMk cId="3976796484" sldId="1653"/>
        </pc:sldMkLst>
      </pc:sldChg>
      <pc:sldChg chg="del">
        <pc:chgData name="Jason Jia" userId="f6ce0aa3-8851-483f-8604-c52a2d3a1c4d" providerId="ADAL" clId="{14269717-4718-AF46-8776-8684A7C744B2}" dt="2023-12-05T21:24:59.972" v="1901" actId="2696"/>
        <pc:sldMkLst>
          <pc:docMk/>
          <pc:sldMk cId="3882126615" sldId="1654"/>
        </pc:sldMkLst>
      </pc:sldChg>
      <pc:sldChg chg="del">
        <pc:chgData name="Jason Jia" userId="f6ce0aa3-8851-483f-8604-c52a2d3a1c4d" providerId="ADAL" clId="{14269717-4718-AF46-8776-8684A7C744B2}" dt="2023-12-05T15:58:21.814" v="321" actId="2696"/>
        <pc:sldMkLst>
          <pc:docMk/>
          <pc:sldMk cId="590149717" sldId="1655"/>
        </pc:sldMkLst>
      </pc:sldChg>
      <pc:sldChg chg="del">
        <pc:chgData name="Jason Jia" userId="f6ce0aa3-8851-483f-8604-c52a2d3a1c4d" providerId="ADAL" clId="{14269717-4718-AF46-8776-8684A7C744B2}" dt="2023-12-05T21:24:59.985" v="1903" actId="2696"/>
        <pc:sldMkLst>
          <pc:docMk/>
          <pc:sldMk cId="3395401527" sldId="1656"/>
        </pc:sldMkLst>
      </pc:sldChg>
      <pc:sldChg chg="new del">
        <pc:chgData name="Jason Jia" userId="f6ce0aa3-8851-483f-8604-c52a2d3a1c4d" providerId="ADAL" clId="{14269717-4718-AF46-8776-8684A7C744B2}" dt="2023-12-05T15:58:21.784" v="317" actId="2696"/>
        <pc:sldMkLst>
          <pc:docMk/>
          <pc:sldMk cId="920975088" sldId="1657"/>
        </pc:sldMkLst>
      </pc:sldChg>
      <pc:sldChg chg="addSp delSp modSp add mod">
        <pc:chgData name="Jason Jia" userId="f6ce0aa3-8851-483f-8604-c52a2d3a1c4d" providerId="ADAL" clId="{14269717-4718-AF46-8776-8684A7C744B2}" dt="2023-12-05T21:27:47.997" v="1926" actId="14100"/>
        <pc:sldMkLst>
          <pc:docMk/>
          <pc:sldMk cId="2266478489" sldId="1693"/>
        </pc:sldMkLst>
        <pc:spChg chg="mod">
          <ac:chgData name="Jason Jia" userId="f6ce0aa3-8851-483f-8604-c52a2d3a1c4d" providerId="ADAL" clId="{14269717-4718-AF46-8776-8684A7C744B2}" dt="2023-12-05T21:27:47.997" v="1926" actId="14100"/>
          <ac:spMkLst>
            <pc:docMk/>
            <pc:sldMk cId="2266478489" sldId="1693"/>
            <ac:spMk id="7" creationId="{427030B2-0679-CB30-CE21-49FDDB83C8B3}"/>
          </ac:spMkLst>
        </pc:spChg>
        <pc:spChg chg="mod">
          <ac:chgData name="Jason Jia" userId="f6ce0aa3-8851-483f-8604-c52a2d3a1c4d" providerId="ADAL" clId="{14269717-4718-AF46-8776-8684A7C744B2}" dt="2023-12-05T15:48:34.257" v="11"/>
          <ac:spMkLst>
            <pc:docMk/>
            <pc:sldMk cId="2266478489" sldId="1693"/>
            <ac:spMk id="8" creationId="{912FD355-6243-8560-E663-EC879BCBCBD2}"/>
          </ac:spMkLst>
        </pc:spChg>
        <pc:spChg chg="mod">
          <ac:chgData name="Jason Jia" userId="f6ce0aa3-8851-483f-8604-c52a2d3a1c4d" providerId="ADAL" clId="{14269717-4718-AF46-8776-8684A7C744B2}" dt="2023-12-05T15:48:56.459" v="36"/>
          <ac:spMkLst>
            <pc:docMk/>
            <pc:sldMk cId="2266478489" sldId="1693"/>
            <ac:spMk id="9" creationId="{465C9A22-74C8-5131-A5B2-7FD3FE4EA111}"/>
          </ac:spMkLst>
        </pc:spChg>
        <pc:spChg chg="add del mod">
          <ac:chgData name="Jason Jia" userId="f6ce0aa3-8851-483f-8604-c52a2d3a1c4d" providerId="ADAL" clId="{14269717-4718-AF46-8776-8684A7C744B2}" dt="2023-12-05T21:26:40.636" v="1914" actId="767"/>
          <ac:spMkLst>
            <pc:docMk/>
            <pc:sldMk cId="2266478489" sldId="1693"/>
            <ac:spMk id="11" creationId="{CF2FEE8F-77D1-DBFF-01BE-CE10DCA65A60}"/>
          </ac:spMkLst>
        </pc:spChg>
        <pc:grpChg chg="del">
          <ac:chgData name="Jason Jia" userId="f6ce0aa3-8851-483f-8604-c52a2d3a1c4d" providerId="ADAL" clId="{14269717-4718-AF46-8776-8684A7C744B2}" dt="2023-12-05T15:47:47.214" v="6" actId="478"/>
          <ac:grpSpMkLst>
            <pc:docMk/>
            <pc:sldMk cId="2266478489" sldId="1693"/>
            <ac:grpSpMk id="5" creationId="{4500D6B0-8ED2-BF92-1BCE-DE862E17BCBB}"/>
          </ac:grpSpMkLst>
        </pc:grpChg>
        <pc:picChg chg="del">
          <ac:chgData name="Jason Jia" userId="f6ce0aa3-8851-483f-8604-c52a2d3a1c4d" providerId="ADAL" clId="{14269717-4718-AF46-8776-8684A7C744B2}" dt="2023-12-05T15:49:06.018" v="38" actId="478"/>
          <ac:picMkLst>
            <pc:docMk/>
            <pc:sldMk cId="2266478489" sldId="1693"/>
            <ac:picMk id="2" creationId="{A96874EA-DE76-04F0-F460-F38E2794DB67}"/>
          </ac:picMkLst>
        </pc:picChg>
        <pc:picChg chg="add del mod">
          <ac:chgData name="Jason Jia" userId="f6ce0aa3-8851-483f-8604-c52a2d3a1c4d" providerId="ADAL" clId="{14269717-4718-AF46-8776-8684A7C744B2}" dt="2023-12-05T15:47:01.337" v="3"/>
          <ac:picMkLst>
            <pc:docMk/>
            <pc:sldMk cId="2266478489" sldId="1693"/>
            <ac:picMk id="10" creationId="{EF00CAA2-2BA8-DD47-0602-903BAB425D70}"/>
          </ac:picMkLst>
        </pc:picChg>
        <pc:picChg chg="add mod">
          <ac:chgData name="Jason Jia" userId="f6ce0aa3-8851-483f-8604-c52a2d3a1c4d" providerId="ADAL" clId="{14269717-4718-AF46-8776-8684A7C744B2}" dt="2023-12-05T15:48:08.566" v="9" actId="1076"/>
          <ac:picMkLst>
            <pc:docMk/>
            <pc:sldMk cId="2266478489" sldId="1693"/>
            <ac:picMk id="1026" creationId="{4C53EFC5-6306-C36C-8463-4F01D759BF3E}"/>
          </ac:picMkLst>
        </pc:picChg>
        <pc:picChg chg="add del mod">
          <ac:chgData name="Jason Jia" userId="f6ce0aa3-8851-483f-8604-c52a2d3a1c4d" providerId="ADAL" clId="{14269717-4718-AF46-8776-8684A7C744B2}" dt="2023-12-05T21:24:11.125" v="1890" actId="478"/>
          <ac:picMkLst>
            <pc:docMk/>
            <pc:sldMk cId="2266478489" sldId="1693"/>
            <ac:picMk id="1028" creationId="{02152016-D0C0-36B6-77FF-CE3F280F3170}"/>
          </ac:picMkLst>
        </pc:picChg>
        <pc:picChg chg="add del mod">
          <ac:chgData name="Jason Jia" userId="f6ce0aa3-8851-483f-8604-c52a2d3a1c4d" providerId="ADAL" clId="{14269717-4718-AF46-8776-8684A7C744B2}" dt="2023-12-05T16:36:34.588" v="364" actId="478"/>
          <ac:picMkLst>
            <pc:docMk/>
            <pc:sldMk cId="2266478489" sldId="1693"/>
            <ac:picMk id="1030" creationId="{8624E0AB-DC44-7456-A108-5DC4894AB1A4}"/>
          </ac:picMkLst>
        </pc:picChg>
        <pc:picChg chg="add mod">
          <ac:chgData name="Jason Jia" userId="f6ce0aa3-8851-483f-8604-c52a2d3a1c4d" providerId="ADAL" clId="{14269717-4718-AF46-8776-8684A7C744B2}" dt="2023-12-05T21:26:13.822" v="1911" actId="732"/>
          <ac:picMkLst>
            <pc:docMk/>
            <pc:sldMk cId="2266478489" sldId="1693"/>
            <ac:picMk id="1032" creationId="{268E6060-9406-770E-8511-3AA065FD96FB}"/>
          </ac:picMkLst>
        </pc:picChg>
      </pc:sldChg>
      <pc:sldChg chg="addSp delSp modSp add del mod">
        <pc:chgData name="Jason Jia" userId="f6ce0aa3-8851-483f-8604-c52a2d3a1c4d" providerId="ADAL" clId="{14269717-4718-AF46-8776-8684A7C744B2}" dt="2023-12-05T21:19:33.197" v="1608" actId="2696"/>
        <pc:sldMkLst>
          <pc:docMk/>
          <pc:sldMk cId="1367397835" sldId="1695"/>
        </pc:sldMkLst>
        <pc:spChg chg="add del">
          <ac:chgData name="Jason Jia" userId="f6ce0aa3-8851-483f-8604-c52a2d3a1c4d" providerId="ADAL" clId="{14269717-4718-AF46-8776-8684A7C744B2}" dt="2023-12-05T21:09:16.813" v="857" actId="478"/>
          <ac:spMkLst>
            <pc:docMk/>
            <pc:sldMk cId="1367397835" sldId="1695"/>
            <ac:spMk id="4" creationId="{D120F2DD-53DF-0DB5-0E96-DF93A12F88A1}"/>
          </ac:spMkLst>
        </pc:spChg>
        <pc:spChg chg="mod">
          <ac:chgData name="Jason Jia" userId="f6ce0aa3-8851-483f-8604-c52a2d3a1c4d" providerId="ADAL" clId="{14269717-4718-AF46-8776-8684A7C744B2}" dt="2023-12-05T15:56:34.113" v="179" actId="20577"/>
          <ac:spMkLst>
            <pc:docMk/>
            <pc:sldMk cId="1367397835" sldId="1695"/>
            <ac:spMk id="5" creationId="{013C592C-5C54-06B2-10E6-59C174FB583B}"/>
          </ac:spMkLst>
        </pc:spChg>
        <pc:spChg chg="mod">
          <ac:chgData name="Jason Jia" userId="f6ce0aa3-8851-483f-8604-c52a2d3a1c4d" providerId="ADAL" clId="{14269717-4718-AF46-8776-8684A7C744B2}" dt="2023-12-05T21:09:12.529" v="856" actId="20577"/>
          <ac:spMkLst>
            <pc:docMk/>
            <pc:sldMk cId="1367397835" sldId="1695"/>
            <ac:spMk id="7" creationId="{B75F412A-86AF-487D-A149-2F585710774F}"/>
          </ac:spMkLst>
        </pc:spChg>
        <pc:spChg chg="add del">
          <ac:chgData name="Jason Jia" userId="f6ce0aa3-8851-483f-8604-c52a2d3a1c4d" providerId="ADAL" clId="{14269717-4718-AF46-8776-8684A7C744B2}" dt="2023-12-05T21:09:16.813" v="857" actId="478"/>
          <ac:spMkLst>
            <pc:docMk/>
            <pc:sldMk cId="1367397835" sldId="1695"/>
            <ac:spMk id="20" creationId="{44BB52A5-0040-435F-A7EA-5C1585889C3B}"/>
          </ac:spMkLst>
        </pc:spChg>
        <pc:spChg chg="add del">
          <ac:chgData name="Jason Jia" userId="f6ce0aa3-8851-483f-8604-c52a2d3a1c4d" providerId="ADAL" clId="{14269717-4718-AF46-8776-8684A7C744B2}" dt="2023-12-05T21:09:16.813" v="857" actId="478"/>
          <ac:spMkLst>
            <pc:docMk/>
            <pc:sldMk cId="1367397835" sldId="1695"/>
            <ac:spMk id="25" creationId="{F8C5BB4A-5437-40B8-93F6-5EE6EEF9C61E}"/>
          </ac:spMkLst>
        </pc:spChg>
        <pc:spChg chg="del">
          <ac:chgData name="Jason Jia" userId="f6ce0aa3-8851-483f-8604-c52a2d3a1c4d" providerId="ADAL" clId="{14269717-4718-AF46-8776-8684A7C744B2}" dt="2023-12-05T21:09:19.681" v="858" actId="478"/>
          <ac:spMkLst>
            <pc:docMk/>
            <pc:sldMk cId="1367397835" sldId="1695"/>
            <ac:spMk id="26" creationId="{F9EC2D96-A011-465A-938D-9BF46A2A0952}"/>
          </ac:spMkLst>
        </pc:spChg>
        <pc:grpChg chg="add del">
          <ac:chgData name="Jason Jia" userId="f6ce0aa3-8851-483f-8604-c52a2d3a1c4d" providerId="ADAL" clId="{14269717-4718-AF46-8776-8684A7C744B2}" dt="2023-12-05T21:09:16.813" v="857" actId="478"/>
          <ac:grpSpMkLst>
            <pc:docMk/>
            <pc:sldMk cId="1367397835" sldId="1695"/>
            <ac:grpSpMk id="2" creationId="{13BB745E-0809-4189-A4D3-5BDAB31CF553}"/>
          </ac:grpSpMkLst>
        </pc:grpChg>
        <pc:grpChg chg="add del">
          <ac:chgData name="Jason Jia" userId="f6ce0aa3-8851-483f-8604-c52a2d3a1c4d" providerId="ADAL" clId="{14269717-4718-AF46-8776-8684A7C744B2}" dt="2023-12-05T21:09:16.813" v="857" actId="478"/>
          <ac:grpSpMkLst>
            <pc:docMk/>
            <pc:sldMk cId="1367397835" sldId="1695"/>
            <ac:grpSpMk id="19" creationId="{CE77320C-E3AC-4C67-81E8-8FE997B37F47}"/>
          </ac:grpSpMkLst>
        </pc:grpChg>
        <pc:grpChg chg="add del">
          <ac:chgData name="Jason Jia" userId="f6ce0aa3-8851-483f-8604-c52a2d3a1c4d" providerId="ADAL" clId="{14269717-4718-AF46-8776-8684A7C744B2}" dt="2023-12-05T21:09:16.813" v="857" actId="478"/>
          <ac:grpSpMkLst>
            <pc:docMk/>
            <pc:sldMk cId="1367397835" sldId="1695"/>
            <ac:grpSpMk id="21" creationId="{22FD5FAF-C68F-46F2-894C-5FC4F0FD3F4A}"/>
          </ac:grpSpMkLst>
        </pc:grpChg>
        <pc:cxnChg chg="add del">
          <ac:chgData name="Jason Jia" userId="f6ce0aa3-8851-483f-8604-c52a2d3a1c4d" providerId="ADAL" clId="{14269717-4718-AF46-8776-8684A7C744B2}" dt="2023-12-05T21:09:16.813" v="857" actId="478"/>
          <ac:cxnSpMkLst>
            <pc:docMk/>
            <pc:sldMk cId="1367397835" sldId="1695"/>
            <ac:cxnSpMk id="24" creationId="{6EC0D492-22F1-4815-A73C-FBD350EA8D8E}"/>
          </ac:cxnSpMkLst>
        </pc:cxnChg>
      </pc:sldChg>
      <pc:sldChg chg="modSp add del mod">
        <pc:chgData name="Jason Jia" userId="f6ce0aa3-8851-483f-8604-c52a2d3a1c4d" providerId="ADAL" clId="{14269717-4718-AF46-8776-8684A7C744B2}" dt="2023-12-05T21:20:32.007" v="1821" actId="2696"/>
        <pc:sldMkLst>
          <pc:docMk/>
          <pc:sldMk cId="1215835267" sldId="1696"/>
        </pc:sldMkLst>
        <pc:spChg chg="mod">
          <ac:chgData name="Jason Jia" userId="f6ce0aa3-8851-483f-8604-c52a2d3a1c4d" providerId="ADAL" clId="{14269717-4718-AF46-8776-8684A7C744B2}" dt="2023-12-05T15:56:50.379" v="229" actId="20577"/>
          <ac:spMkLst>
            <pc:docMk/>
            <pc:sldMk cId="1215835267" sldId="1696"/>
            <ac:spMk id="5" creationId="{013C592C-5C54-06B2-10E6-59C174FB583B}"/>
          </ac:spMkLst>
        </pc:spChg>
      </pc:sldChg>
      <pc:sldChg chg="add del">
        <pc:chgData name="Jason Jia" userId="f6ce0aa3-8851-483f-8604-c52a2d3a1c4d" providerId="ADAL" clId="{14269717-4718-AF46-8776-8684A7C744B2}" dt="2023-12-05T15:58:21.769" v="315" actId="2696"/>
        <pc:sldMkLst>
          <pc:docMk/>
          <pc:sldMk cId="259120031" sldId="1698"/>
        </pc:sldMkLst>
      </pc:sldChg>
      <pc:sldChg chg="add del">
        <pc:chgData name="Jason Jia" userId="f6ce0aa3-8851-483f-8604-c52a2d3a1c4d" providerId="ADAL" clId="{14269717-4718-AF46-8776-8684A7C744B2}" dt="2023-12-05T15:57:39.859" v="280" actId="2696"/>
        <pc:sldMkLst>
          <pc:docMk/>
          <pc:sldMk cId="1768235186" sldId="1699"/>
        </pc:sldMkLst>
      </pc:sldChg>
      <pc:sldChg chg="modSp add del mod">
        <pc:chgData name="Jason Jia" userId="f6ce0aa3-8851-483f-8604-c52a2d3a1c4d" providerId="ADAL" clId="{14269717-4718-AF46-8776-8684A7C744B2}" dt="2023-12-05T21:20:57.254" v="1886" actId="2696"/>
        <pc:sldMkLst>
          <pc:docMk/>
          <pc:sldMk cId="545299229" sldId="1700"/>
        </pc:sldMkLst>
        <pc:spChg chg="mod">
          <ac:chgData name="Jason Jia" userId="f6ce0aa3-8851-483f-8604-c52a2d3a1c4d" providerId="ADAL" clId="{14269717-4718-AF46-8776-8684A7C744B2}" dt="2023-12-05T16:42:04.215" v="376" actId="5793"/>
          <ac:spMkLst>
            <pc:docMk/>
            <pc:sldMk cId="545299229" sldId="1700"/>
            <ac:spMk id="2" creationId="{5045C6C3-E5D8-69B3-48F5-9B85BC64772B}"/>
          </ac:spMkLst>
        </pc:spChg>
        <pc:spChg chg="mod">
          <ac:chgData name="Jason Jia" userId="f6ce0aa3-8851-483f-8604-c52a2d3a1c4d" providerId="ADAL" clId="{14269717-4718-AF46-8776-8684A7C744B2}" dt="2023-12-05T15:58:06.985" v="313" actId="20577"/>
          <ac:spMkLst>
            <pc:docMk/>
            <pc:sldMk cId="545299229" sldId="1700"/>
            <ac:spMk id="4" creationId="{4B9B37F1-2A63-A3A9-5BDB-4329040A940E}"/>
          </ac:spMkLst>
        </pc:spChg>
      </pc:sldChg>
      <pc:sldChg chg="addSp delSp modSp add del mod">
        <pc:chgData name="Jason Jia" userId="f6ce0aa3-8851-483f-8604-c52a2d3a1c4d" providerId="ADAL" clId="{14269717-4718-AF46-8776-8684A7C744B2}" dt="2023-12-05T21:20:42.788" v="1852" actId="2696"/>
        <pc:sldMkLst>
          <pc:docMk/>
          <pc:sldMk cId="772379369" sldId="1701"/>
        </pc:sldMkLst>
        <pc:spChg chg="add del mod">
          <ac:chgData name="Jason Jia" userId="f6ce0aa3-8851-483f-8604-c52a2d3a1c4d" providerId="ADAL" clId="{14269717-4718-AF46-8776-8684A7C744B2}" dt="2023-12-05T16:41:59.824" v="372" actId="478"/>
          <ac:spMkLst>
            <pc:docMk/>
            <pc:sldMk cId="772379369" sldId="1701"/>
            <ac:spMk id="2" creationId="{C927423A-B763-EB19-11A0-385C3D12EADC}"/>
          </ac:spMkLst>
        </pc:spChg>
        <pc:spChg chg="mod">
          <ac:chgData name="Jason Jia" userId="f6ce0aa3-8851-483f-8604-c52a2d3a1c4d" providerId="ADAL" clId="{14269717-4718-AF46-8776-8684A7C744B2}" dt="2023-12-05T15:57:20.029" v="271" actId="20577"/>
          <ac:spMkLst>
            <pc:docMk/>
            <pc:sldMk cId="772379369" sldId="1701"/>
            <ac:spMk id="4" creationId="{DB68C2B2-2AD2-EAC8-96D4-12B72FEC9CD4}"/>
          </ac:spMkLst>
        </pc:spChg>
        <pc:spChg chg="add del mod">
          <ac:chgData name="Jason Jia" userId="f6ce0aa3-8851-483f-8604-c52a2d3a1c4d" providerId="ADAL" clId="{14269717-4718-AF46-8776-8684A7C744B2}" dt="2023-12-05T16:41:55.368" v="368" actId="478"/>
          <ac:spMkLst>
            <pc:docMk/>
            <pc:sldMk cId="772379369" sldId="1701"/>
            <ac:spMk id="6" creationId="{DBC86120-8A7F-91EF-E1C8-E5438E0E903F}"/>
          </ac:spMkLst>
        </pc:spChg>
        <pc:picChg chg="del">
          <ac:chgData name="Jason Jia" userId="f6ce0aa3-8851-483f-8604-c52a2d3a1c4d" providerId="ADAL" clId="{14269717-4718-AF46-8776-8684A7C744B2}" dt="2023-12-05T16:41:56.356" v="369" actId="478"/>
          <ac:picMkLst>
            <pc:docMk/>
            <pc:sldMk cId="772379369" sldId="1701"/>
            <ac:picMk id="4100" creationId="{1F7A1BA9-CAF2-5354-47F9-8A1836C05F2A}"/>
          </ac:picMkLst>
        </pc:picChg>
      </pc:sldChg>
      <pc:sldChg chg="add del">
        <pc:chgData name="Jason Jia" userId="f6ce0aa3-8851-483f-8604-c52a2d3a1c4d" providerId="ADAL" clId="{14269717-4718-AF46-8776-8684A7C744B2}" dt="2023-12-05T15:57:33.326" v="273" actId="2696"/>
        <pc:sldMkLst>
          <pc:docMk/>
          <pc:sldMk cId="1246300784" sldId="1703"/>
        </pc:sldMkLst>
      </pc:sldChg>
      <pc:sldChg chg="addSp delSp modSp add del mod">
        <pc:chgData name="Jason Jia" userId="f6ce0aa3-8851-483f-8604-c52a2d3a1c4d" providerId="ADAL" clId="{14269717-4718-AF46-8776-8684A7C744B2}" dt="2023-12-05T21:16:56.388" v="1415" actId="2696"/>
        <pc:sldMkLst>
          <pc:docMk/>
          <pc:sldMk cId="829812755" sldId="1704"/>
        </pc:sldMkLst>
        <pc:spChg chg="del mod">
          <ac:chgData name="Jason Jia" userId="f6ce0aa3-8851-483f-8604-c52a2d3a1c4d" providerId="ADAL" clId="{14269717-4718-AF46-8776-8684A7C744B2}" dt="2023-12-05T21:14:48.850" v="1371" actId="478"/>
          <ac:spMkLst>
            <pc:docMk/>
            <pc:sldMk cId="829812755" sldId="1704"/>
            <ac:spMk id="2" creationId="{1003F60E-711E-5730-D3AA-155F9A911BD6}"/>
          </ac:spMkLst>
        </pc:spChg>
        <pc:spChg chg="mod">
          <ac:chgData name="Jason Jia" userId="f6ce0aa3-8851-483f-8604-c52a2d3a1c4d" providerId="ADAL" clId="{14269717-4718-AF46-8776-8684A7C744B2}" dt="2023-12-05T21:16:04.602" v="1400" actId="20577"/>
          <ac:spMkLst>
            <pc:docMk/>
            <pc:sldMk cId="829812755" sldId="1704"/>
            <ac:spMk id="4" creationId="{1CD9DFBE-E9E1-88B2-A7BD-1693A7A68B2A}"/>
          </ac:spMkLst>
        </pc:spChg>
        <pc:spChg chg="add del mod">
          <ac:chgData name="Jason Jia" userId="f6ce0aa3-8851-483f-8604-c52a2d3a1c4d" providerId="ADAL" clId="{14269717-4718-AF46-8776-8684A7C744B2}" dt="2023-12-05T21:14:50.518" v="1372" actId="478"/>
          <ac:spMkLst>
            <pc:docMk/>
            <pc:sldMk cId="829812755" sldId="1704"/>
            <ac:spMk id="8" creationId="{B88C8BBA-9E18-6B49-C11C-8175BD452CE9}"/>
          </ac:spMkLst>
        </pc:spChg>
        <pc:spChg chg="del">
          <ac:chgData name="Jason Jia" userId="f6ce0aa3-8851-483f-8604-c52a2d3a1c4d" providerId="ADAL" clId="{14269717-4718-AF46-8776-8684A7C744B2}" dt="2023-12-05T21:14:48.850" v="1371" actId="478"/>
          <ac:spMkLst>
            <pc:docMk/>
            <pc:sldMk cId="829812755" sldId="1704"/>
            <ac:spMk id="9" creationId="{285EDF2D-F611-47BF-8A61-D6F03F12ECC8}"/>
          </ac:spMkLst>
        </pc:spChg>
        <pc:spChg chg="del">
          <ac:chgData name="Jason Jia" userId="f6ce0aa3-8851-483f-8604-c52a2d3a1c4d" providerId="ADAL" clId="{14269717-4718-AF46-8776-8684A7C744B2}" dt="2023-12-05T21:14:48.850" v="1371" actId="478"/>
          <ac:spMkLst>
            <pc:docMk/>
            <pc:sldMk cId="829812755" sldId="1704"/>
            <ac:spMk id="15" creationId="{D63DAC19-EBC3-4542-8BF2-408AD3C3B4FA}"/>
          </ac:spMkLst>
        </pc:spChg>
        <pc:spChg chg="del">
          <ac:chgData name="Jason Jia" userId="f6ce0aa3-8851-483f-8604-c52a2d3a1c4d" providerId="ADAL" clId="{14269717-4718-AF46-8776-8684A7C744B2}" dt="2023-12-05T21:14:48.850" v="1371" actId="478"/>
          <ac:spMkLst>
            <pc:docMk/>
            <pc:sldMk cId="829812755" sldId="1704"/>
            <ac:spMk id="16" creationId="{413DF164-455D-4CE3-8B01-8865615B6F82}"/>
          </ac:spMkLst>
        </pc:spChg>
        <pc:grpChg chg="del">
          <ac:chgData name="Jason Jia" userId="f6ce0aa3-8851-483f-8604-c52a2d3a1c4d" providerId="ADAL" clId="{14269717-4718-AF46-8776-8684A7C744B2}" dt="2023-12-05T21:14:48.850" v="1371" actId="478"/>
          <ac:grpSpMkLst>
            <pc:docMk/>
            <pc:sldMk cId="829812755" sldId="1704"/>
            <ac:grpSpMk id="13" creationId="{4E6BEFBE-D40F-46A4-A7E0-AD9CDE29283B}"/>
          </ac:grpSpMkLst>
        </pc:grpChg>
        <pc:picChg chg="del">
          <ac:chgData name="Jason Jia" userId="f6ce0aa3-8851-483f-8604-c52a2d3a1c4d" providerId="ADAL" clId="{14269717-4718-AF46-8776-8684A7C744B2}" dt="2023-12-05T21:14:48.850" v="1371" actId="478"/>
          <ac:picMkLst>
            <pc:docMk/>
            <pc:sldMk cId="829812755" sldId="1704"/>
            <ac:picMk id="29" creationId="{6ACF4657-FC3D-A392-C7FB-D02BA3248173}"/>
          </ac:picMkLst>
        </pc:picChg>
        <pc:picChg chg="del">
          <ac:chgData name="Jason Jia" userId="f6ce0aa3-8851-483f-8604-c52a2d3a1c4d" providerId="ADAL" clId="{14269717-4718-AF46-8776-8684A7C744B2}" dt="2023-12-05T21:14:48.850" v="1371" actId="478"/>
          <ac:picMkLst>
            <pc:docMk/>
            <pc:sldMk cId="829812755" sldId="1704"/>
            <ac:picMk id="30" creationId="{6B289D0B-44AF-D812-9DA8-EC38C57ED5F3}"/>
          </ac:picMkLst>
        </pc:picChg>
        <pc:picChg chg="del">
          <ac:chgData name="Jason Jia" userId="f6ce0aa3-8851-483f-8604-c52a2d3a1c4d" providerId="ADAL" clId="{14269717-4718-AF46-8776-8684A7C744B2}" dt="2023-12-05T21:14:48.850" v="1371" actId="478"/>
          <ac:picMkLst>
            <pc:docMk/>
            <pc:sldMk cId="829812755" sldId="1704"/>
            <ac:picMk id="31" creationId="{F793E9AF-726C-1CD5-28BA-628AABF1E6C9}"/>
          </ac:picMkLst>
        </pc:picChg>
      </pc:sldChg>
      <pc:sldChg chg="add del">
        <pc:chgData name="Jason Jia" userId="f6ce0aa3-8851-483f-8604-c52a2d3a1c4d" providerId="ADAL" clId="{14269717-4718-AF46-8776-8684A7C744B2}" dt="2023-12-05T15:57:35.101" v="274" actId="2696"/>
        <pc:sldMkLst>
          <pc:docMk/>
          <pc:sldMk cId="1074222127" sldId="1706"/>
        </pc:sldMkLst>
      </pc:sldChg>
      <pc:sldChg chg="add del">
        <pc:chgData name="Jason Jia" userId="f6ce0aa3-8851-483f-8604-c52a2d3a1c4d" providerId="ADAL" clId="{14269717-4718-AF46-8776-8684A7C744B2}" dt="2023-12-05T15:58:21.777" v="316" actId="2696"/>
        <pc:sldMkLst>
          <pc:docMk/>
          <pc:sldMk cId="3256306186" sldId="1707"/>
        </pc:sldMkLst>
      </pc:sldChg>
      <pc:sldChg chg="add del">
        <pc:chgData name="Jason Jia" userId="f6ce0aa3-8851-483f-8604-c52a2d3a1c4d" providerId="ADAL" clId="{14269717-4718-AF46-8776-8684A7C744B2}" dt="2023-12-05T15:57:33.314" v="272" actId="2696"/>
        <pc:sldMkLst>
          <pc:docMk/>
          <pc:sldMk cId="486302477" sldId="1709"/>
        </pc:sldMkLst>
      </pc:sldChg>
      <pc:sldChg chg="add del">
        <pc:chgData name="Jason Jia" userId="f6ce0aa3-8851-483f-8604-c52a2d3a1c4d" providerId="ADAL" clId="{14269717-4718-AF46-8776-8684A7C744B2}" dt="2023-12-05T15:57:36.517" v="276" actId="2696"/>
        <pc:sldMkLst>
          <pc:docMk/>
          <pc:sldMk cId="901291359" sldId="1710"/>
        </pc:sldMkLst>
      </pc:sldChg>
      <pc:sldChg chg="add del">
        <pc:chgData name="Jason Jia" userId="f6ce0aa3-8851-483f-8604-c52a2d3a1c4d" providerId="ADAL" clId="{14269717-4718-AF46-8776-8684A7C744B2}" dt="2023-12-05T15:57:36.337" v="275" actId="2696"/>
        <pc:sldMkLst>
          <pc:docMk/>
          <pc:sldMk cId="3277051794" sldId="1711"/>
        </pc:sldMkLst>
      </pc:sldChg>
      <pc:sldChg chg="add del">
        <pc:chgData name="Jason Jia" userId="f6ce0aa3-8851-483f-8604-c52a2d3a1c4d" providerId="ADAL" clId="{14269717-4718-AF46-8776-8684A7C744B2}" dt="2023-12-05T15:57:37.560" v="277" actId="2696"/>
        <pc:sldMkLst>
          <pc:docMk/>
          <pc:sldMk cId="3343400294" sldId="1714"/>
        </pc:sldMkLst>
      </pc:sldChg>
      <pc:sldChg chg="add del">
        <pc:chgData name="Jason Jia" userId="f6ce0aa3-8851-483f-8604-c52a2d3a1c4d" providerId="ADAL" clId="{14269717-4718-AF46-8776-8684A7C744B2}" dt="2023-12-05T15:57:39.684" v="279" actId="2696"/>
        <pc:sldMkLst>
          <pc:docMk/>
          <pc:sldMk cId="2055801657" sldId="1715"/>
        </pc:sldMkLst>
      </pc:sldChg>
      <pc:sldChg chg="add del">
        <pc:chgData name="Jason Jia" userId="f6ce0aa3-8851-483f-8604-c52a2d3a1c4d" providerId="ADAL" clId="{14269717-4718-AF46-8776-8684A7C744B2}" dt="2023-12-05T15:57:40.048" v="281" actId="2696"/>
        <pc:sldMkLst>
          <pc:docMk/>
          <pc:sldMk cId="1923497644" sldId="1716"/>
        </pc:sldMkLst>
      </pc:sldChg>
      <pc:sldChg chg="add del">
        <pc:chgData name="Jason Jia" userId="f6ce0aa3-8851-483f-8604-c52a2d3a1c4d" providerId="ADAL" clId="{14269717-4718-AF46-8776-8684A7C744B2}" dt="2023-12-05T15:57:41.813" v="282" actId="2696"/>
        <pc:sldMkLst>
          <pc:docMk/>
          <pc:sldMk cId="1106851920" sldId="1717"/>
        </pc:sldMkLst>
      </pc:sldChg>
      <pc:sldChg chg="delSp add del">
        <pc:chgData name="Jason Jia" userId="f6ce0aa3-8851-483f-8604-c52a2d3a1c4d" providerId="ADAL" clId="{14269717-4718-AF46-8776-8684A7C744B2}" dt="2023-12-05T15:57:02.665" v="230" actId="2696"/>
        <pc:sldMkLst>
          <pc:docMk/>
          <pc:sldMk cId="1379899169" sldId="1719"/>
        </pc:sldMkLst>
        <pc:picChg chg="del">
          <ac:chgData name="Jason Jia" userId="f6ce0aa3-8851-483f-8604-c52a2d3a1c4d" providerId="ADAL" clId="{14269717-4718-AF46-8776-8684A7C744B2}" dt="2023-12-05T15:52:04.525" v="39" actId="478"/>
          <ac:picMkLst>
            <pc:docMk/>
            <pc:sldMk cId="1379899169" sldId="1719"/>
            <ac:picMk id="18434" creationId="{A6DC6C67-505E-6106-C64D-A30494B84ADD}"/>
          </ac:picMkLst>
        </pc:picChg>
      </pc:sldChg>
      <pc:sldChg chg="add del">
        <pc:chgData name="Jason Jia" userId="f6ce0aa3-8851-483f-8604-c52a2d3a1c4d" providerId="ADAL" clId="{14269717-4718-AF46-8776-8684A7C744B2}" dt="2023-12-05T16:41:44.142" v="366" actId="2696"/>
        <pc:sldMkLst>
          <pc:docMk/>
          <pc:sldMk cId="85159101" sldId="1721"/>
        </pc:sldMkLst>
      </pc:sldChg>
      <pc:sldChg chg="add del">
        <pc:chgData name="Jason Jia" userId="f6ce0aa3-8851-483f-8604-c52a2d3a1c4d" providerId="ADAL" clId="{14269717-4718-AF46-8776-8684A7C744B2}" dt="2023-12-05T15:58:21.741" v="314" actId="2696"/>
        <pc:sldMkLst>
          <pc:docMk/>
          <pc:sldMk cId="253525199" sldId="1722"/>
        </pc:sldMkLst>
      </pc:sldChg>
      <pc:sldChg chg="add del">
        <pc:chgData name="Jason Jia" userId="f6ce0aa3-8851-483f-8604-c52a2d3a1c4d" providerId="ADAL" clId="{14269717-4718-AF46-8776-8684A7C744B2}" dt="2023-12-05T15:57:38.839" v="278" actId="2696"/>
        <pc:sldMkLst>
          <pc:docMk/>
          <pc:sldMk cId="1716447934" sldId="1724"/>
        </pc:sldMkLst>
      </pc:sldChg>
      <pc:sldChg chg="addSp delSp modSp add del">
        <pc:chgData name="Jason Jia" userId="f6ce0aa3-8851-483f-8604-c52a2d3a1c4d" providerId="ADAL" clId="{14269717-4718-AF46-8776-8684A7C744B2}" dt="2023-12-05T16:42:05.733" v="377" actId="2696"/>
        <pc:sldMkLst>
          <pc:docMk/>
          <pc:sldMk cId="3035490319" sldId="1725"/>
        </pc:sldMkLst>
        <pc:picChg chg="add del mod">
          <ac:chgData name="Jason Jia" userId="f6ce0aa3-8851-483f-8604-c52a2d3a1c4d" providerId="ADAL" clId="{14269717-4718-AF46-8776-8684A7C744B2}" dt="2023-12-05T16:19:40.318" v="345" actId="478"/>
          <ac:picMkLst>
            <pc:docMk/>
            <pc:sldMk cId="3035490319" sldId="1725"/>
            <ac:picMk id="2050" creationId="{B54DE983-4E96-590E-D56A-33B8427C4C3E}"/>
          </ac:picMkLst>
        </pc:picChg>
        <pc:picChg chg="del">
          <ac:chgData name="Jason Jia" userId="f6ce0aa3-8851-483f-8604-c52a2d3a1c4d" providerId="ADAL" clId="{14269717-4718-AF46-8776-8684A7C744B2}" dt="2023-12-05T16:19:15.220" v="342" actId="478"/>
          <ac:picMkLst>
            <pc:docMk/>
            <pc:sldMk cId="3035490319" sldId="1725"/>
            <ac:picMk id="20484" creationId="{76FF1E3D-CC48-1C50-CD12-D850FB68FDD3}"/>
          </ac:picMkLst>
        </pc:picChg>
      </pc:sldChg>
      <pc:sldChg chg="new del">
        <pc:chgData name="Jason Jia" userId="f6ce0aa3-8851-483f-8604-c52a2d3a1c4d" providerId="ADAL" clId="{14269717-4718-AF46-8776-8684A7C744B2}" dt="2023-12-05T15:58:28.869" v="328" actId="680"/>
        <pc:sldMkLst>
          <pc:docMk/>
          <pc:sldMk cId="567345241" sldId="1726"/>
        </pc:sldMkLst>
      </pc:sldChg>
      <pc:sldChg chg="modSp add del mod">
        <pc:chgData name="Jason Jia" userId="f6ce0aa3-8851-483f-8604-c52a2d3a1c4d" providerId="ADAL" clId="{14269717-4718-AF46-8776-8684A7C744B2}" dt="2023-12-05T21:19:08.981" v="1481" actId="2696"/>
        <pc:sldMkLst>
          <pc:docMk/>
          <pc:sldMk cId="2860373960" sldId="1726"/>
        </pc:sldMkLst>
        <pc:spChg chg="mod">
          <ac:chgData name="Jason Jia" userId="f6ce0aa3-8851-483f-8604-c52a2d3a1c4d" providerId="ADAL" clId="{14269717-4718-AF46-8776-8684A7C744B2}" dt="2023-12-05T18:51:42.953" v="854" actId="20577"/>
          <ac:spMkLst>
            <pc:docMk/>
            <pc:sldMk cId="2860373960" sldId="1726"/>
            <ac:spMk id="3" creationId="{8C06375B-AE51-8031-E751-AB8670E586EF}"/>
          </ac:spMkLst>
        </pc:spChg>
        <pc:spChg chg="mod">
          <ac:chgData name="Jason Jia" userId="f6ce0aa3-8851-483f-8604-c52a2d3a1c4d" providerId="ADAL" clId="{14269717-4718-AF46-8776-8684A7C744B2}" dt="2023-12-05T21:11:34.355" v="1345" actId="20577"/>
          <ac:spMkLst>
            <pc:docMk/>
            <pc:sldMk cId="2860373960" sldId="1726"/>
            <ac:spMk id="4" creationId="{5211E941-D344-F5D9-DB64-86AFD984E343}"/>
          </ac:spMkLst>
        </pc:spChg>
        <pc:spChg chg="mod">
          <ac:chgData name="Jason Jia" userId="f6ce0aa3-8851-483f-8604-c52a2d3a1c4d" providerId="ADAL" clId="{14269717-4718-AF46-8776-8684A7C744B2}" dt="2023-12-05T18:51:26.499" v="830" actId="20577"/>
          <ac:spMkLst>
            <pc:docMk/>
            <pc:sldMk cId="2860373960" sldId="1726"/>
            <ac:spMk id="10" creationId="{3CE83AEF-46DE-DE3C-5D8F-2C3B43D166B4}"/>
          </ac:spMkLst>
        </pc:spChg>
        <pc:spChg chg="mod">
          <ac:chgData name="Jason Jia" userId="f6ce0aa3-8851-483f-8604-c52a2d3a1c4d" providerId="ADAL" clId="{14269717-4718-AF46-8776-8684A7C744B2}" dt="2023-12-05T17:47:37.705" v="512" actId="20577"/>
          <ac:spMkLst>
            <pc:docMk/>
            <pc:sldMk cId="2860373960" sldId="1726"/>
            <ac:spMk id="11" creationId="{389DDE1F-75D3-C38D-0D49-27824629961D}"/>
          </ac:spMkLst>
        </pc:spChg>
        <pc:spChg chg="mod">
          <ac:chgData name="Jason Jia" userId="f6ce0aa3-8851-483f-8604-c52a2d3a1c4d" providerId="ADAL" clId="{14269717-4718-AF46-8776-8684A7C744B2}" dt="2023-12-05T18:51:32.631" v="847" actId="20577"/>
          <ac:spMkLst>
            <pc:docMk/>
            <pc:sldMk cId="2860373960" sldId="1726"/>
            <ac:spMk id="12" creationId="{9203C9C0-A156-0F7D-89B2-280F18CB9A79}"/>
          </ac:spMkLst>
        </pc:spChg>
        <pc:spChg chg="mod">
          <ac:chgData name="Jason Jia" userId="f6ce0aa3-8851-483f-8604-c52a2d3a1c4d" providerId="ADAL" clId="{14269717-4718-AF46-8776-8684A7C744B2}" dt="2023-12-05T18:51:05.233" v="791" actId="20577"/>
          <ac:spMkLst>
            <pc:docMk/>
            <pc:sldMk cId="2860373960" sldId="1726"/>
            <ac:spMk id="13" creationId="{991E97BF-2D5D-5D98-7448-66C5C587C12B}"/>
          </ac:spMkLst>
        </pc:spChg>
        <pc:spChg chg="mod">
          <ac:chgData name="Jason Jia" userId="f6ce0aa3-8851-483f-8604-c52a2d3a1c4d" providerId="ADAL" clId="{14269717-4718-AF46-8776-8684A7C744B2}" dt="2023-12-05T18:51:12.217" v="803" actId="20577"/>
          <ac:spMkLst>
            <pc:docMk/>
            <pc:sldMk cId="2860373960" sldId="1726"/>
            <ac:spMk id="14" creationId="{54CC7A29-8D35-4018-D7BF-0F666654E84E}"/>
          </ac:spMkLst>
        </pc:spChg>
        <pc:spChg chg="mod">
          <ac:chgData name="Jason Jia" userId="f6ce0aa3-8851-483f-8604-c52a2d3a1c4d" providerId="ADAL" clId="{14269717-4718-AF46-8776-8684A7C744B2}" dt="2023-12-05T21:10:37.392" v="1163" actId="20577"/>
          <ac:spMkLst>
            <pc:docMk/>
            <pc:sldMk cId="2860373960" sldId="1726"/>
            <ac:spMk id="15" creationId="{74E70361-0A4A-9E58-18C8-FD9659B621B4}"/>
          </ac:spMkLst>
        </pc:spChg>
      </pc:sldChg>
      <pc:sldChg chg="add del">
        <pc:chgData name="Jason Jia" userId="f6ce0aa3-8851-483f-8604-c52a2d3a1c4d" providerId="ADAL" clId="{14269717-4718-AF46-8776-8684A7C744B2}" dt="2023-12-05T21:16:11.933" v="1404" actId="2696"/>
        <pc:sldMkLst>
          <pc:docMk/>
          <pc:sldMk cId="995677714" sldId="1727"/>
        </pc:sldMkLst>
      </pc:sldChg>
      <pc:sldChg chg="new del">
        <pc:chgData name="Jason Jia" userId="f6ce0aa3-8851-483f-8604-c52a2d3a1c4d" providerId="ADAL" clId="{14269717-4718-AF46-8776-8684A7C744B2}" dt="2023-12-05T15:58:28.414" v="327" actId="680"/>
        <pc:sldMkLst>
          <pc:docMk/>
          <pc:sldMk cId="4180581527" sldId="1727"/>
        </pc:sldMkLst>
      </pc:sldChg>
      <pc:sldChg chg="addSp delSp modSp add mod ord">
        <pc:chgData name="Jason Jia" userId="f6ce0aa3-8851-483f-8604-c52a2d3a1c4d" providerId="ADAL" clId="{14269717-4718-AF46-8776-8684A7C744B2}" dt="2023-12-05T22:54:49.776" v="2049" actId="1037"/>
        <pc:sldMkLst>
          <pc:docMk/>
          <pc:sldMk cId="2757992781" sldId="1728"/>
        </pc:sldMkLst>
        <pc:spChg chg="mod">
          <ac:chgData name="Jason Jia" userId="f6ce0aa3-8851-483f-8604-c52a2d3a1c4d" providerId="ADAL" clId="{14269717-4718-AF46-8776-8684A7C744B2}" dt="2023-12-05T22:54:32.975" v="2031" actId="1076"/>
          <ac:spMkLst>
            <pc:docMk/>
            <pc:sldMk cId="2757992781" sldId="1728"/>
            <ac:spMk id="3" creationId="{44972353-C01F-7B23-B292-DED9178DABBD}"/>
          </ac:spMkLst>
        </pc:spChg>
        <pc:spChg chg="mod">
          <ac:chgData name="Jason Jia" userId="f6ce0aa3-8851-483f-8604-c52a2d3a1c4d" providerId="ADAL" clId="{14269717-4718-AF46-8776-8684A7C744B2}" dt="2023-12-05T21:16:48.175" v="1413" actId="27636"/>
          <ac:spMkLst>
            <pc:docMk/>
            <pc:sldMk cId="2757992781" sldId="1728"/>
            <ac:spMk id="4" creationId="{1CD9DFBE-E9E1-88B2-A7BD-1693A7A68B2A}"/>
          </ac:spMkLst>
        </pc:spChg>
        <pc:grpChg chg="add mod">
          <ac:chgData name="Jason Jia" userId="f6ce0aa3-8851-483f-8604-c52a2d3a1c4d" providerId="ADAL" clId="{14269717-4718-AF46-8776-8684A7C744B2}" dt="2023-12-05T22:54:49.776" v="2049" actId="1037"/>
          <ac:grpSpMkLst>
            <pc:docMk/>
            <pc:sldMk cId="2757992781" sldId="1728"/>
            <ac:grpSpMk id="16" creationId="{550B7A4B-FD6C-F6DC-36A5-868619FD1610}"/>
          </ac:grpSpMkLst>
        </pc:grpChg>
        <pc:picChg chg="add del mod">
          <ac:chgData name="Jason Jia" userId="f6ce0aa3-8851-483f-8604-c52a2d3a1c4d" providerId="ADAL" clId="{14269717-4718-AF46-8776-8684A7C744B2}" dt="2023-12-05T22:50:21.979" v="1952" actId="21"/>
          <ac:picMkLst>
            <pc:docMk/>
            <pc:sldMk cId="2757992781" sldId="1728"/>
            <ac:picMk id="2" creationId="{2ED64C37-4D25-5859-B08A-2430A3E9A68C}"/>
          </ac:picMkLst>
        </pc:picChg>
        <pc:picChg chg="add mod">
          <ac:chgData name="Jason Jia" userId="f6ce0aa3-8851-483f-8604-c52a2d3a1c4d" providerId="ADAL" clId="{14269717-4718-AF46-8776-8684A7C744B2}" dt="2023-12-05T22:54:32.975" v="2031" actId="1076"/>
          <ac:picMkLst>
            <pc:docMk/>
            <pc:sldMk cId="2757992781" sldId="1728"/>
            <ac:picMk id="5" creationId="{FB7D6FA6-8B54-539A-ECD1-0B8DB0264D3B}"/>
          </ac:picMkLst>
        </pc:picChg>
        <pc:picChg chg="add del mod">
          <ac:chgData name="Jason Jia" userId="f6ce0aa3-8851-483f-8604-c52a2d3a1c4d" providerId="ADAL" clId="{14269717-4718-AF46-8776-8684A7C744B2}" dt="2023-12-05T22:52:41.688" v="1998" actId="478"/>
          <ac:picMkLst>
            <pc:docMk/>
            <pc:sldMk cId="2757992781" sldId="1728"/>
            <ac:picMk id="6" creationId="{826B8694-B305-6C63-5B3F-B6F847FB8CB7}"/>
          </ac:picMkLst>
        </pc:picChg>
        <pc:picChg chg="add del mod">
          <ac:chgData name="Jason Jia" userId="f6ce0aa3-8851-483f-8604-c52a2d3a1c4d" providerId="ADAL" clId="{14269717-4718-AF46-8776-8684A7C744B2}" dt="2023-12-05T22:52:42.468" v="1999" actId="478"/>
          <ac:picMkLst>
            <pc:docMk/>
            <pc:sldMk cId="2757992781" sldId="1728"/>
            <ac:picMk id="7" creationId="{B937609F-A5A5-03DF-6762-06CA2F96B5CF}"/>
          </ac:picMkLst>
        </pc:picChg>
        <pc:cxnChg chg="add mod">
          <ac:chgData name="Jason Jia" userId="f6ce0aa3-8851-483f-8604-c52a2d3a1c4d" providerId="ADAL" clId="{14269717-4718-AF46-8776-8684A7C744B2}" dt="2023-12-05T22:54:32.975" v="2031" actId="1076"/>
          <ac:cxnSpMkLst>
            <pc:docMk/>
            <pc:sldMk cId="2757992781" sldId="1728"/>
            <ac:cxnSpMk id="8" creationId="{3DE4F14B-B4FE-46B0-515C-ADDFBA51C381}"/>
          </ac:cxnSpMkLst>
        </pc:cxnChg>
        <pc:cxnChg chg="add mod">
          <ac:chgData name="Jason Jia" userId="f6ce0aa3-8851-483f-8604-c52a2d3a1c4d" providerId="ADAL" clId="{14269717-4718-AF46-8776-8684A7C744B2}" dt="2023-12-05T22:54:32.975" v="2031" actId="1076"/>
          <ac:cxnSpMkLst>
            <pc:docMk/>
            <pc:sldMk cId="2757992781" sldId="1728"/>
            <ac:cxnSpMk id="10" creationId="{4E49E08D-7A3A-3822-D930-16497D511857}"/>
          </ac:cxnSpMkLst>
        </pc:cxnChg>
        <pc:cxnChg chg="add mod">
          <ac:chgData name="Jason Jia" userId="f6ce0aa3-8851-483f-8604-c52a2d3a1c4d" providerId="ADAL" clId="{14269717-4718-AF46-8776-8684A7C744B2}" dt="2023-12-05T22:54:36.033" v="2033" actId="1038"/>
          <ac:cxnSpMkLst>
            <pc:docMk/>
            <pc:sldMk cId="2757992781" sldId="1728"/>
            <ac:cxnSpMk id="12" creationId="{72C1FE5A-0261-92C4-423A-B0CC76FC1F0D}"/>
          </ac:cxnSpMkLst>
        </pc:cxnChg>
        <pc:cxnChg chg="add mod">
          <ac:chgData name="Jason Jia" userId="f6ce0aa3-8851-483f-8604-c52a2d3a1c4d" providerId="ADAL" clId="{14269717-4718-AF46-8776-8684A7C744B2}" dt="2023-12-05T22:54:32.975" v="2031" actId="1076"/>
          <ac:cxnSpMkLst>
            <pc:docMk/>
            <pc:sldMk cId="2757992781" sldId="1728"/>
            <ac:cxnSpMk id="14" creationId="{F7FA2CD0-49D5-9825-1D80-75E5FE23BA52}"/>
          </ac:cxnSpMkLst>
        </pc:cxnChg>
      </pc:sldChg>
      <pc:sldChg chg="addSp modSp add mod">
        <pc:chgData name="Jason Jia" userId="f6ce0aa3-8851-483f-8604-c52a2d3a1c4d" providerId="ADAL" clId="{14269717-4718-AF46-8776-8684A7C744B2}" dt="2023-12-05T22:55:01.644" v="2051" actId="313"/>
        <pc:sldMkLst>
          <pc:docMk/>
          <pc:sldMk cId="1567152650" sldId="1729"/>
        </pc:sldMkLst>
        <pc:spChg chg="mod">
          <ac:chgData name="Jason Jia" userId="f6ce0aa3-8851-483f-8604-c52a2d3a1c4d" providerId="ADAL" clId="{14269717-4718-AF46-8776-8684A7C744B2}" dt="2023-12-05T22:55:01.644" v="2051" actId="313"/>
          <ac:spMkLst>
            <pc:docMk/>
            <pc:sldMk cId="1567152650" sldId="1729"/>
            <ac:spMk id="4" creationId="{1CD9DFBE-E9E1-88B2-A7BD-1693A7A68B2A}"/>
          </ac:spMkLst>
        </pc:spChg>
        <pc:picChg chg="add mod">
          <ac:chgData name="Jason Jia" userId="f6ce0aa3-8851-483f-8604-c52a2d3a1c4d" providerId="ADAL" clId="{14269717-4718-AF46-8776-8684A7C744B2}" dt="2023-12-05T22:54:57.618" v="2050" actId="1076"/>
          <ac:picMkLst>
            <pc:docMk/>
            <pc:sldMk cId="1567152650" sldId="1729"/>
            <ac:picMk id="2" creationId="{BD5C24A8-EB5A-24EF-592C-F7BC58E2F48B}"/>
          </ac:picMkLst>
        </pc:picChg>
      </pc:sldChg>
      <pc:sldChg chg="add del">
        <pc:chgData name="Jason Jia" userId="f6ce0aa3-8851-483f-8604-c52a2d3a1c4d" providerId="ADAL" clId="{14269717-4718-AF46-8776-8684A7C744B2}" dt="2023-12-05T21:16:56.395" v="1416" actId="2696"/>
        <pc:sldMkLst>
          <pc:docMk/>
          <pc:sldMk cId="3368260880" sldId="1729"/>
        </pc:sldMkLst>
      </pc:sldChg>
      <pc:sldChg chg="addSp modSp add mod">
        <pc:chgData name="Jason Jia" userId="f6ce0aa3-8851-483f-8604-c52a2d3a1c4d" providerId="ADAL" clId="{14269717-4718-AF46-8776-8684A7C744B2}" dt="2023-12-05T22:35:58.319" v="1940" actId="1076"/>
        <pc:sldMkLst>
          <pc:docMk/>
          <pc:sldMk cId="2851156" sldId="1730"/>
        </pc:sldMkLst>
        <pc:spChg chg="mod">
          <ac:chgData name="Jason Jia" userId="f6ce0aa3-8851-483f-8604-c52a2d3a1c4d" providerId="ADAL" clId="{14269717-4718-AF46-8776-8684A7C744B2}" dt="2023-12-05T21:18:58.691" v="1478"/>
          <ac:spMkLst>
            <pc:docMk/>
            <pc:sldMk cId="2851156" sldId="1730"/>
            <ac:spMk id="4" creationId="{1CD9DFBE-E9E1-88B2-A7BD-1693A7A68B2A}"/>
          </ac:spMkLst>
        </pc:spChg>
        <pc:picChg chg="add mod">
          <ac:chgData name="Jason Jia" userId="f6ce0aa3-8851-483f-8604-c52a2d3a1c4d" providerId="ADAL" clId="{14269717-4718-AF46-8776-8684A7C744B2}" dt="2023-12-05T22:33:25.720" v="1938"/>
          <ac:picMkLst>
            <pc:docMk/>
            <pc:sldMk cId="2851156" sldId="1730"/>
            <ac:picMk id="2" creationId="{4FC76113-770D-6133-8CE5-D32B01BB6134}"/>
          </ac:picMkLst>
        </pc:picChg>
        <pc:picChg chg="add mod">
          <ac:chgData name="Jason Jia" userId="f6ce0aa3-8851-483f-8604-c52a2d3a1c4d" providerId="ADAL" clId="{14269717-4718-AF46-8776-8684A7C744B2}" dt="2023-12-05T22:35:58.319" v="1940" actId="1076"/>
          <ac:picMkLst>
            <pc:docMk/>
            <pc:sldMk cId="2851156" sldId="1730"/>
            <ac:picMk id="5" creationId="{021EC901-CAF6-39F7-E0E1-2C4F340EE12A}"/>
          </ac:picMkLst>
        </pc:picChg>
      </pc:sldChg>
      <pc:sldChg chg="add del">
        <pc:chgData name="Jason Jia" userId="f6ce0aa3-8851-483f-8604-c52a2d3a1c4d" providerId="ADAL" clId="{14269717-4718-AF46-8776-8684A7C744B2}" dt="2023-12-05T21:16:56.402" v="1417" actId="2696"/>
        <pc:sldMkLst>
          <pc:docMk/>
          <pc:sldMk cId="876694215" sldId="1730"/>
        </pc:sldMkLst>
      </pc:sldChg>
      <pc:sldChg chg="modSp add del mod">
        <pc:chgData name="Jason Jia" userId="f6ce0aa3-8851-483f-8604-c52a2d3a1c4d" providerId="ADAL" clId="{14269717-4718-AF46-8776-8684A7C744B2}" dt="2023-12-05T21:19:06.192" v="1480" actId="20577"/>
        <pc:sldMkLst>
          <pc:docMk/>
          <pc:sldMk cId="1844829379" sldId="1731"/>
        </pc:sldMkLst>
        <pc:spChg chg="mod">
          <ac:chgData name="Jason Jia" userId="f6ce0aa3-8851-483f-8604-c52a2d3a1c4d" providerId="ADAL" clId="{14269717-4718-AF46-8776-8684A7C744B2}" dt="2023-12-05T21:19:06.192" v="1480" actId="20577"/>
          <ac:spMkLst>
            <pc:docMk/>
            <pc:sldMk cId="1844829379" sldId="1731"/>
            <ac:spMk id="4" creationId="{1CD9DFBE-E9E1-88B2-A7BD-1693A7A68B2A}"/>
          </ac:spMkLst>
        </pc:spChg>
      </pc:sldChg>
      <pc:sldChg chg="add del">
        <pc:chgData name="Jason Jia" userId="f6ce0aa3-8851-483f-8604-c52a2d3a1c4d" providerId="ADAL" clId="{14269717-4718-AF46-8776-8684A7C744B2}" dt="2023-12-05T21:16:22.033" v="1406"/>
        <pc:sldMkLst>
          <pc:docMk/>
          <pc:sldMk cId="2921638489" sldId="1731"/>
        </pc:sldMkLst>
      </pc:sldChg>
      <pc:sldChg chg="modSp add mod">
        <pc:chgData name="Jason Jia" userId="f6ce0aa3-8851-483f-8604-c52a2d3a1c4d" providerId="ADAL" clId="{14269717-4718-AF46-8776-8684A7C744B2}" dt="2023-12-05T21:19:30.645" v="1607" actId="20577"/>
        <pc:sldMkLst>
          <pc:docMk/>
          <pc:sldMk cId="2835376115" sldId="1732"/>
        </pc:sldMkLst>
        <pc:spChg chg="mod">
          <ac:chgData name="Jason Jia" userId="f6ce0aa3-8851-483f-8604-c52a2d3a1c4d" providerId="ADAL" clId="{14269717-4718-AF46-8776-8684A7C744B2}" dt="2023-12-05T21:19:30.645" v="1607" actId="20577"/>
          <ac:spMkLst>
            <pc:docMk/>
            <pc:sldMk cId="2835376115" sldId="1732"/>
            <ac:spMk id="4" creationId="{1CD9DFBE-E9E1-88B2-A7BD-1693A7A68B2A}"/>
          </ac:spMkLst>
        </pc:spChg>
      </pc:sldChg>
      <pc:sldChg chg="modSp add mod">
        <pc:chgData name="Jason Jia" userId="f6ce0aa3-8851-483f-8604-c52a2d3a1c4d" providerId="ADAL" clId="{14269717-4718-AF46-8776-8684A7C744B2}" dt="2023-12-05T21:20:29.248" v="1820" actId="20577"/>
        <pc:sldMkLst>
          <pc:docMk/>
          <pc:sldMk cId="3973085908" sldId="1733"/>
        </pc:sldMkLst>
        <pc:spChg chg="mod">
          <ac:chgData name="Jason Jia" userId="f6ce0aa3-8851-483f-8604-c52a2d3a1c4d" providerId="ADAL" clId="{14269717-4718-AF46-8776-8684A7C744B2}" dt="2023-12-05T21:20:29.248" v="1820" actId="20577"/>
          <ac:spMkLst>
            <pc:docMk/>
            <pc:sldMk cId="3973085908" sldId="1733"/>
            <ac:spMk id="4" creationId="{1CD9DFBE-E9E1-88B2-A7BD-1693A7A68B2A}"/>
          </ac:spMkLst>
        </pc:spChg>
      </pc:sldChg>
      <pc:sldChg chg="addSp delSp modSp add mod">
        <pc:chgData name="Jason Jia" userId="f6ce0aa3-8851-483f-8604-c52a2d3a1c4d" providerId="ADAL" clId="{14269717-4718-AF46-8776-8684A7C744B2}" dt="2023-12-07T04:34:20.238" v="2081" actId="478"/>
        <pc:sldMkLst>
          <pc:docMk/>
          <pc:sldMk cId="113715673" sldId="1734"/>
        </pc:sldMkLst>
        <pc:spChg chg="mod">
          <ac:chgData name="Jason Jia" userId="f6ce0aa3-8851-483f-8604-c52a2d3a1c4d" providerId="ADAL" clId="{14269717-4718-AF46-8776-8684A7C744B2}" dt="2023-12-05T21:20:40.124" v="1851" actId="5793"/>
          <ac:spMkLst>
            <pc:docMk/>
            <pc:sldMk cId="113715673" sldId="1734"/>
            <ac:spMk id="4" creationId="{1CD9DFBE-E9E1-88B2-A7BD-1693A7A68B2A}"/>
          </ac:spMkLst>
        </pc:spChg>
        <pc:picChg chg="add mod">
          <ac:chgData name="Jason Jia" userId="f6ce0aa3-8851-483f-8604-c52a2d3a1c4d" providerId="ADAL" clId="{14269717-4718-AF46-8776-8684A7C744B2}" dt="2023-12-07T04:33:58.570" v="2060" actId="27614"/>
          <ac:picMkLst>
            <pc:docMk/>
            <pc:sldMk cId="113715673" sldId="1734"/>
            <ac:picMk id="5" creationId="{71FBE831-8894-DC92-3148-FE3C55D23C0E}"/>
          </ac:picMkLst>
        </pc:picChg>
        <pc:picChg chg="add del mod">
          <ac:chgData name="Jason Jia" userId="f6ce0aa3-8851-483f-8604-c52a2d3a1c4d" providerId="ADAL" clId="{14269717-4718-AF46-8776-8684A7C744B2}" dt="2023-12-07T04:34:20.238" v="2081" actId="478"/>
          <ac:picMkLst>
            <pc:docMk/>
            <pc:sldMk cId="113715673" sldId="1734"/>
            <ac:picMk id="7" creationId="{267ACBD7-1BD8-E69C-EC03-3337AB93B36A}"/>
          </ac:picMkLst>
        </pc:picChg>
        <pc:picChg chg="add del mod">
          <ac:chgData name="Jason Jia" userId="f6ce0aa3-8851-483f-8604-c52a2d3a1c4d" providerId="ADAL" clId="{14269717-4718-AF46-8776-8684A7C744B2}" dt="2023-12-07T04:34:19.603" v="2080" actId="478"/>
          <ac:picMkLst>
            <pc:docMk/>
            <pc:sldMk cId="113715673" sldId="1734"/>
            <ac:picMk id="9" creationId="{6EFE3F0C-CF49-F3E8-E88B-22EB16C23EEF}"/>
          </ac:picMkLst>
        </pc:picChg>
      </pc:sldChg>
      <pc:sldChg chg="addSp delSp modSp add mod">
        <pc:chgData name="Jason Jia" userId="f6ce0aa3-8851-483f-8604-c52a2d3a1c4d" providerId="ADAL" clId="{14269717-4718-AF46-8776-8684A7C744B2}" dt="2023-12-05T22:57:21.217" v="2055" actId="1076"/>
        <pc:sldMkLst>
          <pc:docMk/>
          <pc:sldMk cId="3517433182" sldId="1735"/>
        </pc:sldMkLst>
        <pc:spChg chg="add del">
          <ac:chgData name="Jason Jia" userId="f6ce0aa3-8851-483f-8604-c52a2d3a1c4d" providerId="ADAL" clId="{14269717-4718-AF46-8776-8684A7C744B2}" dt="2023-12-05T22:56:35.750" v="2053"/>
          <ac:spMkLst>
            <pc:docMk/>
            <pc:sldMk cId="3517433182" sldId="1735"/>
            <ac:spMk id="2" creationId="{2D4A9C1B-6849-47B6-694D-1E68662FADA2}"/>
          </ac:spMkLst>
        </pc:spChg>
        <pc:spChg chg="mod">
          <ac:chgData name="Jason Jia" userId="f6ce0aa3-8851-483f-8604-c52a2d3a1c4d" providerId="ADAL" clId="{14269717-4718-AF46-8776-8684A7C744B2}" dt="2023-12-05T21:20:55.023" v="1885" actId="20577"/>
          <ac:spMkLst>
            <pc:docMk/>
            <pc:sldMk cId="3517433182" sldId="1735"/>
            <ac:spMk id="4" creationId="{1CD9DFBE-E9E1-88B2-A7BD-1693A7A68B2A}"/>
          </ac:spMkLst>
        </pc:spChg>
        <pc:picChg chg="add mod">
          <ac:chgData name="Jason Jia" userId="f6ce0aa3-8851-483f-8604-c52a2d3a1c4d" providerId="ADAL" clId="{14269717-4718-AF46-8776-8684A7C744B2}" dt="2023-12-05T22:57:21.217" v="2055" actId="1076"/>
          <ac:picMkLst>
            <pc:docMk/>
            <pc:sldMk cId="3517433182" sldId="1735"/>
            <ac:picMk id="5" creationId="{8E527C3C-7DCE-17D4-42A8-CAEAC2CB5E96}"/>
          </ac:picMkLst>
        </pc:picChg>
      </pc:sldChg>
      <pc:sldChg chg="addSp delSp modSp add mod">
        <pc:chgData name="Jason Jia" userId="f6ce0aa3-8851-483f-8604-c52a2d3a1c4d" providerId="ADAL" clId="{14269717-4718-AF46-8776-8684A7C744B2}" dt="2023-12-05T22:52:37.163" v="1997" actId="1076"/>
        <pc:sldMkLst>
          <pc:docMk/>
          <pc:sldMk cId="1109555925" sldId="1736"/>
        </pc:sldMkLst>
        <pc:picChg chg="del">
          <ac:chgData name="Jason Jia" userId="f6ce0aa3-8851-483f-8604-c52a2d3a1c4d" providerId="ADAL" clId="{14269717-4718-AF46-8776-8684A7C744B2}" dt="2023-12-05T22:50:45.317" v="1964" actId="478"/>
          <ac:picMkLst>
            <pc:docMk/>
            <pc:sldMk cId="1109555925" sldId="1736"/>
            <ac:picMk id="5" creationId="{FB7D6FA6-8B54-539A-ECD1-0B8DB0264D3B}"/>
          </ac:picMkLst>
        </pc:picChg>
        <pc:picChg chg="add del mod">
          <ac:chgData name="Jason Jia" userId="f6ce0aa3-8851-483f-8604-c52a2d3a1c4d" providerId="ADAL" clId="{14269717-4718-AF46-8776-8684A7C744B2}" dt="2023-12-05T22:51:14.860" v="1974" actId="1076"/>
          <ac:picMkLst>
            <pc:docMk/>
            <pc:sldMk cId="1109555925" sldId="1736"/>
            <ac:picMk id="6" creationId="{826B8694-B305-6C63-5B3F-B6F847FB8CB7}"/>
          </ac:picMkLst>
        </pc:picChg>
        <pc:picChg chg="mod modCrop">
          <ac:chgData name="Jason Jia" userId="f6ce0aa3-8851-483f-8604-c52a2d3a1c4d" providerId="ADAL" clId="{14269717-4718-AF46-8776-8684A7C744B2}" dt="2023-12-05T22:51:17.414" v="1975" actId="1076"/>
          <ac:picMkLst>
            <pc:docMk/>
            <pc:sldMk cId="1109555925" sldId="1736"/>
            <ac:picMk id="7" creationId="{B937609F-A5A5-03DF-6762-06CA2F96B5CF}"/>
          </ac:picMkLst>
        </pc:picChg>
        <pc:cxnChg chg="add mod">
          <ac:chgData name="Jason Jia" userId="f6ce0aa3-8851-483f-8604-c52a2d3a1c4d" providerId="ADAL" clId="{14269717-4718-AF46-8776-8684A7C744B2}" dt="2023-12-05T22:52:02.680" v="1988" actId="14100"/>
          <ac:cxnSpMkLst>
            <pc:docMk/>
            <pc:sldMk cId="1109555925" sldId="1736"/>
            <ac:cxnSpMk id="8" creationId="{DBDC5E46-1B96-A1CE-69F4-1D39B4B49D8E}"/>
          </ac:cxnSpMkLst>
        </pc:cxnChg>
        <pc:cxnChg chg="add mod">
          <ac:chgData name="Jason Jia" userId="f6ce0aa3-8851-483f-8604-c52a2d3a1c4d" providerId="ADAL" clId="{14269717-4718-AF46-8776-8684A7C744B2}" dt="2023-12-05T22:52:17.020" v="1992" actId="14100"/>
          <ac:cxnSpMkLst>
            <pc:docMk/>
            <pc:sldMk cId="1109555925" sldId="1736"/>
            <ac:cxnSpMk id="10" creationId="{B15C7882-37E8-3432-F06F-3EE7E727A657}"/>
          </ac:cxnSpMkLst>
        </pc:cxnChg>
        <pc:cxnChg chg="add mod">
          <ac:chgData name="Jason Jia" userId="f6ce0aa3-8851-483f-8604-c52a2d3a1c4d" providerId="ADAL" clId="{14269717-4718-AF46-8776-8684A7C744B2}" dt="2023-12-05T22:52:33.760" v="1995" actId="14100"/>
          <ac:cxnSpMkLst>
            <pc:docMk/>
            <pc:sldMk cId="1109555925" sldId="1736"/>
            <ac:cxnSpMk id="13" creationId="{9EDC31EC-BEA7-2812-7BC1-2558A2EBB982}"/>
          </ac:cxnSpMkLst>
        </pc:cxnChg>
        <pc:cxnChg chg="add mod">
          <ac:chgData name="Jason Jia" userId="f6ce0aa3-8851-483f-8604-c52a2d3a1c4d" providerId="ADAL" clId="{14269717-4718-AF46-8776-8684A7C744B2}" dt="2023-12-05T22:52:37.163" v="1997" actId="1076"/>
          <ac:cxnSpMkLst>
            <pc:docMk/>
            <pc:sldMk cId="1109555925" sldId="1736"/>
            <ac:cxnSpMk id="15" creationId="{76C397DD-03FC-1DD4-0273-0CACE0E627B2}"/>
          </ac:cxnSpMkLst>
        </pc:cxnChg>
      </pc:sldChg>
      <pc:sldChg chg="new del">
        <pc:chgData name="Jason Jia" userId="f6ce0aa3-8851-483f-8604-c52a2d3a1c4d" providerId="ADAL" clId="{14269717-4718-AF46-8776-8684A7C744B2}" dt="2023-12-05T22:50:39.070" v="1959" actId="680"/>
        <pc:sldMkLst>
          <pc:docMk/>
          <pc:sldMk cId="2152146421" sldId="1736"/>
        </pc:sldMkLst>
      </pc:sldChg>
      <pc:sldChg chg="delSp modSp add mod">
        <pc:chgData name="Jason Jia" userId="f6ce0aa3-8851-483f-8604-c52a2d3a1c4d" providerId="ADAL" clId="{14269717-4718-AF46-8776-8684A7C744B2}" dt="2023-12-07T04:34:18.711" v="2079" actId="478"/>
        <pc:sldMkLst>
          <pc:docMk/>
          <pc:sldMk cId="3799926748" sldId="1737"/>
        </pc:sldMkLst>
        <pc:picChg chg="del">
          <ac:chgData name="Jason Jia" userId="f6ce0aa3-8851-483f-8604-c52a2d3a1c4d" providerId="ADAL" clId="{14269717-4718-AF46-8776-8684A7C744B2}" dt="2023-12-07T04:34:18.711" v="2079" actId="478"/>
          <ac:picMkLst>
            <pc:docMk/>
            <pc:sldMk cId="3799926748" sldId="1737"/>
            <ac:picMk id="5" creationId="{71FBE831-8894-DC92-3148-FE3C55D23C0E}"/>
          </ac:picMkLst>
        </pc:picChg>
        <pc:picChg chg="del mod">
          <ac:chgData name="Jason Jia" userId="f6ce0aa3-8851-483f-8604-c52a2d3a1c4d" providerId="ADAL" clId="{14269717-4718-AF46-8776-8684A7C744B2}" dt="2023-12-07T04:34:15.512" v="2078" actId="478"/>
          <ac:picMkLst>
            <pc:docMk/>
            <pc:sldMk cId="3799926748" sldId="1737"/>
            <ac:picMk id="9" creationId="{6EFE3F0C-CF49-F3E8-E88B-22EB16C23EEF}"/>
          </ac:picMkLst>
        </pc:picChg>
      </pc:sldChg>
      <pc:sldChg chg="delSp modSp add mod ord">
        <pc:chgData name="Jason Jia" userId="f6ce0aa3-8851-483f-8604-c52a2d3a1c4d" providerId="ADAL" clId="{14269717-4718-AF46-8776-8684A7C744B2}" dt="2023-12-07T04:34:27.356" v="2084" actId="1076"/>
        <pc:sldMkLst>
          <pc:docMk/>
          <pc:sldMk cId="5696984" sldId="1738"/>
        </pc:sldMkLst>
        <pc:picChg chg="del">
          <ac:chgData name="Jason Jia" userId="f6ce0aa3-8851-483f-8604-c52a2d3a1c4d" providerId="ADAL" clId="{14269717-4718-AF46-8776-8684A7C744B2}" dt="2023-12-07T04:34:11.579" v="2075" actId="478"/>
          <ac:picMkLst>
            <pc:docMk/>
            <pc:sldMk cId="5696984" sldId="1738"/>
            <ac:picMk id="5" creationId="{71FBE831-8894-DC92-3148-FE3C55D23C0E}"/>
          </ac:picMkLst>
        </pc:picChg>
        <pc:picChg chg="del">
          <ac:chgData name="Jason Jia" userId="f6ce0aa3-8851-483f-8604-c52a2d3a1c4d" providerId="ADAL" clId="{14269717-4718-AF46-8776-8684A7C744B2}" dt="2023-12-07T04:34:10.524" v="2074" actId="478"/>
          <ac:picMkLst>
            <pc:docMk/>
            <pc:sldMk cId="5696984" sldId="1738"/>
            <ac:picMk id="7" creationId="{267ACBD7-1BD8-E69C-EC03-3337AB93B36A}"/>
          </ac:picMkLst>
        </pc:picChg>
        <pc:picChg chg="mod">
          <ac:chgData name="Jason Jia" userId="f6ce0aa3-8851-483f-8604-c52a2d3a1c4d" providerId="ADAL" clId="{14269717-4718-AF46-8776-8684A7C744B2}" dt="2023-12-07T04:34:27.356" v="2084" actId="1076"/>
          <ac:picMkLst>
            <pc:docMk/>
            <pc:sldMk cId="5696984" sldId="1738"/>
            <ac:picMk id="9" creationId="{6EFE3F0C-CF49-F3E8-E88B-22EB16C23EEF}"/>
          </ac:picMkLst>
        </pc:picChg>
      </pc:sldChg>
    </pc:docChg>
  </pc:docChgLst>
  <pc:docChgLst>
    <pc:chgData name="Stefan Brown" userId="252352bc-e6ff-405e-b10a-872912c68ef1" providerId="ADAL" clId="{121813B7-713F-4CDF-A74D-8BCF120969D2}"/>
    <pc:docChg chg="delSld modSld delSection modSection">
      <pc:chgData name="Stefan Brown" userId="252352bc-e6ff-405e-b10a-872912c68ef1" providerId="ADAL" clId="{121813B7-713F-4CDF-A74D-8BCF120969D2}" dt="2022-09-15T09:50:20.322" v="110" actId="2696"/>
      <pc:docMkLst>
        <pc:docMk/>
      </pc:docMkLst>
      <pc:sldChg chg="del">
        <pc:chgData name="Stefan Brown" userId="252352bc-e6ff-405e-b10a-872912c68ef1" providerId="ADAL" clId="{121813B7-713F-4CDF-A74D-8BCF120969D2}" dt="2022-09-14T15:22:48.140" v="0" actId="47"/>
        <pc:sldMkLst>
          <pc:docMk/>
          <pc:sldMk cId="3019570585" sldId="256"/>
        </pc:sldMkLst>
      </pc:sldChg>
      <pc:sldChg chg="modSp">
        <pc:chgData name="Stefan Brown" userId="252352bc-e6ff-405e-b10a-872912c68ef1" providerId="ADAL" clId="{121813B7-713F-4CDF-A74D-8BCF120969D2}" dt="2022-09-15T08:15:35.103" v="50" actId="14826"/>
        <pc:sldMkLst>
          <pc:docMk/>
          <pc:sldMk cId="3881045694" sldId="414"/>
        </pc:sldMkLst>
        <pc:picChg chg="mod">
          <ac:chgData name="Stefan Brown" userId="252352bc-e6ff-405e-b10a-872912c68ef1" providerId="ADAL" clId="{121813B7-713F-4CDF-A74D-8BCF120969D2}" dt="2022-09-15T08:15:35.103" v="50" actId="14826"/>
          <ac:picMkLst>
            <pc:docMk/>
            <pc:sldMk cId="3881045694" sldId="414"/>
            <ac:picMk id="21" creationId="{CE2CF78E-F45E-4E03-9CFB-A8DD9B7910EE}"/>
          </ac:picMkLst>
        </pc:picChg>
      </pc:sldChg>
      <pc:sldChg chg="del">
        <pc:chgData name="Stefan Brown" userId="252352bc-e6ff-405e-b10a-872912c68ef1" providerId="ADAL" clId="{121813B7-713F-4CDF-A74D-8BCF120969D2}" dt="2022-09-14T15:22:48.140" v="0" actId="47"/>
        <pc:sldMkLst>
          <pc:docMk/>
          <pc:sldMk cId="2783872695" sldId="533"/>
        </pc:sldMkLst>
      </pc:sldChg>
      <pc:sldChg chg="del">
        <pc:chgData name="Stefan Brown" userId="252352bc-e6ff-405e-b10a-872912c68ef1" providerId="ADAL" clId="{121813B7-713F-4CDF-A74D-8BCF120969D2}" dt="2022-09-14T15:22:48.140" v="0" actId="47"/>
        <pc:sldMkLst>
          <pc:docMk/>
          <pc:sldMk cId="3555146675" sldId="534"/>
        </pc:sldMkLst>
      </pc:sldChg>
      <pc:sldChg chg="del">
        <pc:chgData name="Stefan Brown" userId="252352bc-e6ff-405e-b10a-872912c68ef1" providerId="ADAL" clId="{121813B7-713F-4CDF-A74D-8BCF120969D2}" dt="2022-09-14T15:22:48.140" v="0" actId="47"/>
        <pc:sldMkLst>
          <pc:docMk/>
          <pc:sldMk cId="3189696813" sldId="589"/>
        </pc:sldMkLst>
      </pc:sldChg>
      <pc:sldChg chg="del">
        <pc:chgData name="Stefan Brown" userId="252352bc-e6ff-405e-b10a-872912c68ef1" providerId="ADAL" clId="{121813B7-713F-4CDF-A74D-8BCF120969D2}" dt="2022-09-14T15:22:48.140" v="0" actId="47"/>
        <pc:sldMkLst>
          <pc:docMk/>
          <pc:sldMk cId="1487038601" sldId="1602"/>
        </pc:sldMkLst>
      </pc:sldChg>
      <pc:sldChg chg="del">
        <pc:chgData name="Stefan Brown" userId="252352bc-e6ff-405e-b10a-872912c68ef1" providerId="ADAL" clId="{121813B7-713F-4CDF-A74D-8BCF120969D2}" dt="2022-09-14T15:22:48.140" v="0" actId="47"/>
        <pc:sldMkLst>
          <pc:docMk/>
          <pc:sldMk cId="3437446607" sldId="1604"/>
        </pc:sldMkLst>
      </pc:sldChg>
      <pc:sldChg chg="del">
        <pc:chgData name="Stefan Brown" userId="252352bc-e6ff-405e-b10a-872912c68ef1" providerId="ADAL" clId="{121813B7-713F-4CDF-A74D-8BCF120969D2}" dt="2022-09-14T15:22:48.140" v="0" actId="47"/>
        <pc:sldMkLst>
          <pc:docMk/>
          <pc:sldMk cId="592652876" sldId="1605"/>
        </pc:sldMkLst>
      </pc:sldChg>
      <pc:sldChg chg="del">
        <pc:chgData name="Stefan Brown" userId="252352bc-e6ff-405e-b10a-872912c68ef1" providerId="ADAL" clId="{121813B7-713F-4CDF-A74D-8BCF120969D2}" dt="2022-09-14T15:22:48.140" v="0" actId="47"/>
        <pc:sldMkLst>
          <pc:docMk/>
          <pc:sldMk cId="65564386" sldId="1607"/>
        </pc:sldMkLst>
      </pc:sldChg>
      <pc:sldChg chg="del">
        <pc:chgData name="Stefan Brown" userId="252352bc-e6ff-405e-b10a-872912c68ef1" providerId="ADAL" clId="{121813B7-713F-4CDF-A74D-8BCF120969D2}" dt="2022-09-14T15:22:48.140" v="0" actId="47"/>
        <pc:sldMkLst>
          <pc:docMk/>
          <pc:sldMk cId="3898915416" sldId="1611"/>
        </pc:sldMkLst>
      </pc:sldChg>
      <pc:sldChg chg="del">
        <pc:chgData name="Stefan Brown" userId="252352bc-e6ff-405e-b10a-872912c68ef1" providerId="ADAL" clId="{121813B7-713F-4CDF-A74D-8BCF120969D2}" dt="2022-09-14T15:22:48.140" v="0" actId="47"/>
        <pc:sldMkLst>
          <pc:docMk/>
          <pc:sldMk cId="2200369386" sldId="1613"/>
        </pc:sldMkLst>
      </pc:sldChg>
      <pc:sldChg chg="del">
        <pc:chgData name="Stefan Brown" userId="252352bc-e6ff-405e-b10a-872912c68ef1" providerId="ADAL" clId="{121813B7-713F-4CDF-A74D-8BCF120969D2}" dt="2022-09-14T15:22:48.140" v="0" actId="47"/>
        <pc:sldMkLst>
          <pc:docMk/>
          <pc:sldMk cId="128969479" sldId="1614"/>
        </pc:sldMkLst>
      </pc:sldChg>
      <pc:sldChg chg="del">
        <pc:chgData name="Stefan Brown" userId="252352bc-e6ff-405e-b10a-872912c68ef1" providerId="ADAL" clId="{121813B7-713F-4CDF-A74D-8BCF120969D2}" dt="2022-09-14T15:22:48.140" v="0" actId="47"/>
        <pc:sldMkLst>
          <pc:docMk/>
          <pc:sldMk cId="2971777162" sldId="1615"/>
        </pc:sldMkLst>
      </pc:sldChg>
      <pc:sldChg chg="del">
        <pc:chgData name="Stefan Brown" userId="252352bc-e6ff-405e-b10a-872912c68ef1" providerId="ADAL" clId="{121813B7-713F-4CDF-A74D-8BCF120969D2}" dt="2022-09-14T15:22:48.140" v="0" actId="47"/>
        <pc:sldMkLst>
          <pc:docMk/>
          <pc:sldMk cId="2114600841" sldId="1618"/>
        </pc:sldMkLst>
      </pc:sldChg>
      <pc:sldChg chg="del">
        <pc:chgData name="Stefan Brown" userId="252352bc-e6ff-405e-b10a-872912c68ef1" providerId="ADAL" clId="{121813B7-713F-4CDF-A74D-8BCF120969D2}" dt="2022-09-14T15:22:48.140" v="0" actId="47"/>
        <pc:sldMkLst>
          <pc:docMk/>
          <pc:sldMk cId="2730848766" sldId="1619"/>
        </pc:sldMkLst>
      </pc:sldChg>
      <pc:sldChg chg="del">
        <pc:chgData name="Stefan Brown" userId="252352bc-e6ff-405e-b10a-872912c68ef1" providerId="ADAL" clId="{121813B7-713F-4CDF-A74D-8BCF120969D2}" dt="2022-09-14T15:22:48.140" v="0" actId="47"/>
        <pc:sldMkLst>
          <pc:docMk/>
          <pc:sldMk cId="142393118" sldId="1620"/>
        </pc:sldMkLst>
      </pc:sldChg>
      <pc:sldChg chg="del">
        <pc:chgData name="Stefan Brown" userId="252352bc-e6ff-405e-b10a-872912c68ef1" providerId="ADAL" clId="{121813B7-713F-4CDF-A74D-8BCF120969D2}" dt="2022-09-14T15:22:48.140" v="0" actId="47"/>
        <pc:sldMkLst>
          <pc:docMk/>
          <pc:sldMk cId="1237893977" sldId="1622"/>
        </pc:sldMkLst>
      </pc:sldChg>
      <pc:sldChg chg="del">
        <pc:chgData name="Stefan Brown" userId="252352bc-e6ff-405e-b10a-872912c68ef1" providerId="ADAL" clId="{121813B7-713F-4CDF-A74D-8BCF120969D2}" dt="2022-09-14T15:22:48.140" v="0" actId="47"/>
        <pc:sldMkLst>
          <pc:docMk/>
          <pc:sldMk cId="76716129" sldId="1623"/>
        </pc:sldMkLst>
      </pc:sldChg>
      <pc:sldChg chg="del">
        <pc:chgData name="Stefan Brown" userId="252352bc-e6ff-405e-b10a-872912c68ef1" providerId="ADAL" clId="{121813B7-713F-4CDF-A74D-8BCF120969D2}" dt="2022-09-14T15:22:48.140" v="0" actId="47"/>
        <pc:sldMkLst>
          <pc:docMk/>
          <pc:sldMk cId="4255980751" sldId="1624"/>
        </pc:sldMkLst>
      </pc:sldChg>
      <pc:sldChg chg="del">
        <pc:chgData name="Stefan Brown" userId="252352bc-e6ff-405e-b10a-872912c68ef1" providerId="ADAL" clId="{121813B7-713F-4CDF-A74D-8BCF120969D2}" dt="2022-09-14T15:22:48.140" v="0" actId="47"/>
        <pc:sldMkLst>
          <pc:docMk/>
          <pc:sldMk cId="4048716839" sldId="1629"/>
        </pc:sldMkLst>
      </pc:sldChg>
      <pc:sldChg chg="del">
        <pc:chgData name="Stefan Brown" userId="252352bc-e6ff-405e-b10a-872912c68ef1" providerId="ADAL" clId="{121813B7-713F-4CDF-A74D-8BCF120969D2}" dt="2022-09-14T15:22:48.140" v="0" actId="47"/>
        <pc:sldMkLst>
          <pc:docMk/>
          <pc:sldMk cId="2457026351" sldId="1634"/>
        </pc:sldMkLst>
      </pc:sldChg>
      <pc:sldChg chg="del">
        <pc:chgData name="Stefan Brown" userId="252352bc-e6ff-405e-b10a-872912c68ef1" providerId="ADAL" clId="{121813B7-713F-4CDF-A74D-8BCF120969D2}" dt="2022-09-14T15:22:48.140" v="0" actId="47"/>
        <pc:sldMkLst>
          <pc:docMk/>
          <pc:sldMk cId="3504868640" sldId="1635"/>
        </pc:sldMkLst>
      </pc:sldChg>
      <pc:sldChg chg="modSp mod">
        <pc:chgData name="Stefan Brown" userId="252352bc-e6ff-405e-b10a-872912c68ef1" providerId="ADAL" clId="{121813B7-713F-4CDF-A74D-8BCF120969D2}" dt="2022-09-15T09:45:23.044" v="109" actId="14100"/>
        <pc:sldMkLst>
          <pc:docMk/>
          <pc:sldMk cId="2995131627" sldId="1639"/>
        </pc:sldMkLst>
        <pc:spChg chg="mod">
          <ac:chgData name="Stefan Brown" userId="252352bc-e6ff-405e-b10a-872912c68ef1" providerId="ADAL" clId="{121813B7-713F-4CDF-A74D-8BCF120969D2}" dt="2022-09-15T09:45:23.044" v="109" actId="14100"/>
          <ac:spMkLst>
            <pc:docMk/>
            <pc:sldMk cId="2995131627" sldId="1639"/>
            <ac:spMk id="15" creationId="{24D6882A-6243-A737-A371-21E33629AE0A}"/>
          </ac:spMkLst>
        </pc:spChg>
      </pc:sldChg>
      <pc:sldChg chg="modSp mod">
        <pc:chgData name="Stefan Brown" userId="252352bc-e6ff-405e-b10a-872912c68ef1" providerId="ADAL" clId="{121813B7-713F-4CDF-A74D-8BCF120969D2}" dt="2022-09-15T08:13:12.874" v="49" actId="14100"/>
        <pc:sldMkLst>
          <pc:docMk/>
          <pc:sldMk cId="821528711" sldId="1646"/>
        </pc:sldMkLst>
        <pc:spChg chg="mod">
          <ac:chgData name="Stefan Brown" userId="252352bc-e6ff-405e-b10a-872912c68ef1" providerId="ADAL" clId="{121813B7-713F-4CDF-A74D-8BCF120969D2}" dt="2022-09-15T08:13:12.874" v="49" actId="14100"/>
          <ac:spMkLst>
            <pc:docMk/>
            <pc:sldMk cId="821528711" sldId="1646"/>
            <ac:spMk id="15" creationId="{24D6882A-6243-A737-A371-21E33629AE0A}"/>
          </ac:spMkLst>
        </pc:spChg>
      </pc:sldChg>
      <pc:sldMasterChg chg="delSldLayout">
        <pc:chgData name="Stefan Brown" userId="252352bc-e6ff-405e-b10a-872912c68ef1" providerId="ADAL" clId="{121813B7-713F-4CDF-A74D-8BCF120969D2}" dt="2022-09-15T09:50:20.322" v="110" actId="2696"/>
        <pc:sldMasterMkLst>
          <pc:docMk/>
          <pc:sldMasterMk cId="1485468225" sldId="2147483648"/>
        </pc:sldMasterMkLst>
        <pc:sldLayoutChg chg="del">
          <pc:chgData name="Stefan Brown" userId="252352bc-e6ff-405e-b10a-872912c68ef1" providerId="ADAL" clId="{121813B7-713F-4CDF-A74D-8BCF120969D2}" dt="2022-09-15T09:50:20.322" v="110" actId="2696"/>
          <pc:sldLayoutMkLst>
            <pc:docMk/>
            <pc:sldMasterMk cId="1485468225" sldId="2147483648"/>
            <pc:sldLayoutMk cId="1015164546" sldId="214748370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2E3E-4542-8970-780190B8A532}"/>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2E3E-4542-8970-780190B8A532}"/>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2E3E-4542-8970-780190B8A532}"/>
            </c:ext>
          </c:extLst>
        </c:ser>
        <c:ser>
          <c:idx val="3"/>
          <c:order val="3"/>
          <c:tx>
            <c:strRef>
              <c:f>Sheet1!$E$1</c:f>
              <c:strCache>
                <c:ptCount val="1"/>
                <c:pt idx="0">
                  <c:v>Series 4</c:v>
                </c:pt>
              </c:strCache>
            </c:strRef>
          </c:tx>
          <c:spPr>
            <a:ln w="28575" cap="rnd">
              <a:solidFill>
                <a:schemeClr val="accent4"/>
              </a:solidFill>
              <a:round/>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2E3E-4542-8970-780190B8A532}"/>
            </c:ext>
          </c:extLst>
        </c:ser>
        <c:ser>
          <c:idx val="4"/>
          <c:order val="4"/>
          <c:tx>
            <c:strRef>
              <c:f>Sheet1!$F$1</c:f>
              <c:strCache>
                <c:ptCount val="1"/>
                <c:pt idx="0">
                  <c:v>Series 5</c:v>
                </c:pt>
              </c:strCache>
            </c:strRef>
          </c:tx>
          <c:spPr>
            <a:ln w="28575" cap="rnd">
              <a:solidFill>
                <a:schemeClr val="accent5"/>
              </a:solidFill>
              <a:round/>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2E3E-4542-8970-780190B8A532}"/>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lgn="ctr">
              <a:defRPr sz="1197" b="0" i="0" u="none" strike="noStrike" kern="1200" baseline="0">
                <a:solidFill>
                  <a:schemeClr val="tx1"/>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371684048"/>
        <c:crosses val="autoZero"/>
        <c:crossBetween val="between"/>
        <c:majorUnit val="1"/>
      </c:valAx>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06/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0379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79C831-25D6-44EC-814F-AB09CD1A7512}" type="slidenum">
              <a:rPr lang="en-GB" smtClean="0"/>
              <a:t>23</a:t>
            </a:fld>
            <a:endParaRPr lang="en-GB"/>
          </a:p>
        </p:txBody>
      </p:sp>
    </p:spTree>
    <p:extLst>
      <p:ext uri="{BB962C8B-B14F-4D97-AF65-F5344CB8AC3E}">
        <p14:creationId xmlns:p14="http://schemas.microsoft.com/office/powerpoint/2010/main" val="347692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5"/>
                  </a:solidFill>
                  <a:latin typeface="+mj-lt"/>
                </a:rPr>
                <a:t>MIT </a:t>
              </a:r>
              <a:r>
                <a:rPr lang="en-US" sz="4900" b="0" i="0" cap="all" baseline="0" dirty="0">
                  <a:solidFill>
                    <a:schemeClr val="accent5"/>
                  </a:solidFill>
                  <a:latin typeface="+mj-lt"/>
                </a:rPr>
                <a:t>SLOAN</a:t>
              </a:r>
              <a:r>
                <a:rPr lang="en-US" sz="4900" b="0" i="0" dirty="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dirty="0"/>
              <a:t>01. Section Name</a:t>
            </a:r>
            <a:endParaRPr lang="en-GB" dirty="0"/>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dirty="0"/>
              <a:t>02. Section Name</a:t>
            </a:r>
            <a:endParaRPr lang="en-GB" dirty="0"/>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dirty="0"/>
              <a:t>03. Section Name</a:t>
            </a:r>
            <a:endParaRPr lang="en-GB" dirty="0"/>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dirty="0"/>
              <a:t>04. Section Name</a:t>
            </a:r>
            <a:endParaRPr lang="en-GB" dirty="0"/>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dirty="0"/>
              <a:t>05. Section Name</a:t>
            </a:r>
            <a:endParaRPr lang="en-GB" dirty="0"/>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dirty="0"/>
              <a:t>06. Section Name</a:t>
            </a:r>
            <a:endParaRPr lang="en-GB" dirty="0"/>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dirty="0"/>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dirty="0"/>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dirty="0"/>
              <a:t>Do not enter text into this placeholder. </a:t>
            </a:r>
            <a:br>
              <a:rPr lang="en-GB" dirty="0"/>
            </a:br>
            <a:r>
              <a:rPr lang="en-GB" dirty="0"/>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a:t>
              </a:r>
            </a:p>
            <a:p>
              <a:endParaRPr lang="en-GB"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dirty="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dirty="0"/>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dirty="0"/>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dirty="0"/>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dirty="0"/>
              <a:t>Click to edit Master title style</a:t>
            </a:r>
            <a:endParaRPr lang="en-GB" dirty="0"/>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dirty="0"/>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MIT </a:t>
              </a:r>
              <a:r>
                <a:rPr lang="en-US" sz="4900" b="0" i="0" cap="all" baseline="0" dirty="0">
                  <a:solidFill>
                    <a:schemeClr val="accent1">
                      <a:lumMod val="40000"/>
                      <a:lumOff val="60000"/>
                    </a:schemeClr>
                  </a:solidFill>
                  <a:latin typeface="+mj-lt"/>
                </a:rPr>
                <a:t>SLOAN</a:t>
              </a:r>
              <a:r>
                <a:rPr lang="en-US" sz="4900" b="0" i="0" dirty="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dirty="0"/>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dirty="0"/>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dirty="0"/>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dirty="0"/>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dirty="0"/>
              <a:t>“Click to add quote</a:t>
            </a:r>
            <a:endParaRPr lang="en-GB" dirty="0"/>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dirty="0"/>
              <a:t>Click to add name / date</a:t>
            </a:r>
            <a:endParaRPr lang="en-GB" dirty="0"/>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dirty="0"/>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dirty="0"/>
              <a:t>“Click to add quote</a:t>
            </a:r>
            <a:endParaRPr lang="en-GB" dirty="0"/>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dirty="0"/>
              <a:t>Click to add name / date</a:t>
            </a:r>
            <a:endParaRPr lang="en-GB" dirty="0"/>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dirty="0"/>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dirty="0"/>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dirty="0"/>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dirty="0"/>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3" name="Group 2">
            <a:extLst>
              <a:ext uri="{FF2B5EF4-FFF2-40B4-BE49-F238E27FC236}">
                <a16:creationId xmlns:a16="http://schemas.microsoft.com/office/drawing/2014/main" id="{1B246276-147A-F172-F8B0-7DC9FD95BA90}"/>
              </a:ext>
            </a:extLst>
          </p:cNvPr>
          <p:cNvGrpSpPr/>
          <p:nvPr userDrawn="1"/>
        </p:nvGrpSpPr>
        <p:grpSpPr>
          <a:xfrm>
            <a:off x="-1518920" y="0"/>
            <a:ext cx="1248590" cy="3843947"/>
            <a:chOff x="-2206171" y="0"/>
            <a:chExt cx="1973942" cy="3614166"/>
          </a:xfrm>
        </p:grpSpPr>
        <p:sp>
          <p:nvSpPr>
            <p:cNvPr id="4" name="Rectangle 3">
              <a:extLst>
                <a:ext uri="{FF2B5EF4-FFF2-40B4-BE49-F238E27FC236}">
                  <a16:creationId xmlns:a16="http://schemas.microsoft.com/office/drawing/2014/main" id="{82A097E1-CF50-02BD-AC77-9D7BAC75AAB8}"/>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9" name="Rectangle 8">
              <a:extLst>
                <a:ext uri="{FF2B5EF4-FFF2-40B4-BE49-F238E27FC236}">
                  <a16:creationId xmlns:a16="http://schemas.microsoft.com/office/drawing/2014/main" id="{89CB0B3F-547A-014E-774E-3AA2865516BE}"/>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at the bottom.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dirty="0"/>
              <a:t>Do not enter text into this placeholder. This will not show up when presenting </a:t>
            </a:r>
          </a:p>
          <a:p>
            <a:pPr lvl="0"/>
            <a:endParaRPr lang="en-GB" dirty="0"/>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dirty="0">
                <a:solidFill>
                  <a:schemeClr val="bg1"/>
                </a:solidFill>
              </a:rPr>
              <a:t>DO NOT USE ANY LAYOUTS THAT APPEAR AFTER THIS LAYOUT</a:t>
            </a:r>
            <a:endParaRPr lang="en-GB" sz="6600" b="1" dirty="0">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lide – Main, White, Red Text">
  <p:cSld name="Title Slide – Main, White, Red Text">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329133" y="1820300"/>
            <a:ext cx="10111600" cy="537200"/>
          </a:xfrm>
          <a:prstGeom prst="rect">
            <a:avLst/>
          </a:prstGeom>
        </p:spPr>
        <p:txBody>
          <a:bodyPr spcFirstLastPara="1" wrap="square" lIns="0" tIns="91425" rIns="91425" bIns="0" anchor="b" anchorCtr="0">
            <a:noAutofit/>
          </a:bodyPr>
          <a:lstStyle>
            <a:lvl1pPr lvl="0" rtl="0">
              <a:spcBef>
                <a:spcPts val="0"/>
              </a:spcBef>
              <a:spcAft>
                <a:spcPts val="0"/>
              </a:spcAft>
              <a:buClr>
                <a:schemeClr val="dk2"/>
              </a:buClr>
              <a:buSzPts val="3200"/>
              <a:buNone/>
              <a:defRPr>
                <a:solidFill>
                  <a:schemeClr val="dk2"/>
                </a:solidFill>
              </a:defRPr>
            </a:lvl1pPr>
            <a:lvl2pPr lvl="1" rtl="0">
              <a:spcBef>
                <a:spcPts val="0"/>
              </a:spcBef>
              <a:spcAft>
                <a:spcPts val="0"/>
              </a:spcAft>
              <a:buSzPts val="3500"/>
              <a:buFont typeface="Helvetica Neue"/>
              <a:buNone/>
              <a:defRPr sz="4667" b="1">
                <a:latin typeface="Helvetica Neue"/>
                <a:ea typeface="Helvetica Neue"/>
                <a:cs typeface="Helvetica Neue"/>
                <a:sym typeface="Helvetica Neue"/>
              </a:defRPr>
            </a:lvl2pPr>
            <a:lvl3pPr lvl="2" rtl="0">
              <a:spcBef>
                <a:spcPts val="0"/>
              </a:spcBef>
              <a:spcAft>
                <a:spcPts val="0"/>
              </a:spcAft>
              <a:buSzPts val="3500"/>
              <a:buFont typeface="Helvetica Neue"/>
              <a:buNone/>
              <a:defRPr sz="4667" b="1">
                <a:latin typeface="Helvetica Neue"/>
                <a:ea typeface="Helvetica Neue"/>
                <a:cs typeface="Helvetica Neue"/>
                <a:sym typeface="Helvetica Neue"/>
              </a:defRPr>
            </a:lvl3pPr>
            <a:lvl4pPr lvl="3" rtl="0">
              <a:spcBef>
                <a:spcPts val="0"/>
              </a:spcBef>
              <a:spcAft>
                <a:spcPts val="0"/>
              </a:spcAft>
              <a:buSzPts val="3500"/>
              <a:buFont typeface="Helvetica Neue"/>
              <a:buNone/>
              <a:defRPr sz="4667" b="1">
                <a:latin typeface="Helvetica Neue"/>
                <a:ea typeface="Helvetica Neue"/>
                <a:cs typeface="Helvetica Neue"/>
                <a:sym typeface="Helvetica Neue"/>
              </a:defRPr>
            </a:lvl4pPr>
            <a:lvl5pPr lvl="4" rtl="0">
              <a:spcBef>
                <a:spcPts val="0"/>
              </a:spcBef>
              <a:spcAft>
                <a:spcPts val="0"/>
              </a:spcAft>
              <a:buSzPts val="3500"/>
              <a:buFont typeface="Helvetica Neue"/>
              <a:buNone/>
              <a:defRPr sz="4667" b="1">
                <a:latin typeface="Helvetica Neue"/>
                <a:ea typeface="Helvetica Neue"/>
                <a:cs typeface="Helvetica Neue"/>
                <a:sym typeface="Helvetica Neue"/>
              </a:defRPr>
            </a:lvl5pPr>
            <a:lvl6pPr lvl="5" rtl="0">
              <a:spcBef>
                <a:spcPts val="0"/>
              </a:spcBef>
              <a:spcAft>
                <a:spcPts val="0"/>
              </a:spcAft>
              <a:buSzPts val="3500"/>
              <a:buFont typeface="Helvetica Neue"/>
              <a:buNone/>
              <a:defRPr sz="4667" b="1">
                <a:latin typeface="Helvetica Neue"/>
                <a:ea typeface="Helvetica Neue"/>
                <a:cs typeface="Helvetica Neue"/>
                <a:sym typeface="Helvetica Neue"/>
              </a:defRPr>
            </a:lvl6pPr>
            <a:lvl7pPr lvl="6" rtl="0">
              <a:spcBef>
                <a:spcPts val="0"/>
              </a:spcBef>
              <a:spcAft>
                <a:spcPts val="0"/>
              </a:spcAft>
              <a:buSzPts val="3500"/>
              <a:buFont typeface="Helvetica Neue"/>
              <a:buNone/>
              <a:defRPr sz="4667" b="1">
                <a:latin typeface="Helvetica Neue"/>
                <a:ea typeface="Helvetica Neue"/>
                <a:cs typeface="Helvetica Neue"/>
                <a:sym typeface="Helvetica Neue"/>
              </a:defRPr>
            </a:lvl7pPr>
            <a:lvl8pPr lvl="7" rtl="0">
              <a:spcBef>
                <a:spcPts val="0"/>
              </a:spcBef>
              <a:spcAft>
                <a:spcPts val="0"/>
              </a:spcAft>
              <a:buSzPts val="3500"/>
              <a:buFont typeface="Helvetica Neue"/>
              <a:buNone/>
              <a:defRPr sz="4667" b="1">
                <a:latin typeface="Helvetica Neue"/>
                <a:ea typeface="Helvetica Neue"/>
                <a:cs typeface="Helvetica Neue"/>
                <a:sym typeface="Helvetica Neue"/>
              </a:defRPr>
            </a:lvl8pPr>
            <a:lvl9pPr lvl="8" rtl="0">
              <a:spcBef>
                <a:spcPts val="0"/>
              </a:spcBef>
              <a:spcAft>
                <a:spcPts val="0"/>
              </a:spcAft>
              <a:buSzPts val="3500"/>
              <a:buFont typeface="Helvetica Neue"/>
              <a:buNone/>
              <a:defRPr sz="4667" b="1">
                <a:latin typeface="Helvetica Neue"/>
                <a:ea typeface="Helvetica Neue"/>
                <a:cs typeface="Helvetica Neue"/>
                <a:sym typeface="Helvetica Neue"/>
              </a:defRPr>
            </a:lvl9pPr>
          </a:lstStyle>
          <a:p>
            <a:endParaRPr/>
          </a:p>
        </p:txBody>
      </p:sp>
      <p:sp>
        <p:nvSpPr>
          <p:cNvPr id="25" name="Google Shape;25;p4"/>
          <p:cNvSpPr txBox="1">
            <a:spLocks noGrp="1"/>
          </p:cNvSpPr>
          <p:nvPr>
            <p:ph type="title" idx="2"/>
          </p:nvPr>
        </p:nvSpPr>
        <p:spPr>
          <a:xfrm>
            <a:off x="329133" y="2250167"/>
            <a:ext cx="10111600" cy="1900800"/>
          </a:xfrm>
          <a:prstGeom prst="rect">
            <a:avLst/>
          </a:prstGeom>
        </p:spPr>
        <p:txBody>
          <a:bodyPr spcFirstLastPara="1" wrap="square" lIns="0" tIns="0" rIns="0" bIns="0" anchor="t" anchorCtr="0">
            <a:noAutofit/>
          </a:bodyPr>
          <a:lstStyle>
            <a:lvl1pPr lvl="0" rtl="0">
              <a:spcBef>
                <a:spcPts val="0"/>
              </a:spcBef>
              <a:spcAft>
                <a:spcPts val="0"/>
              </a:spcAft>
              <a:buClr>
                <a:schemeClr val="accent2"/>
              </a:buClr>
              <a:buSzPts val="3200"/>
              <a:buNone/>
              <a:defRPr>
                <a:solidFill>
                  <a:schemeClr val="accent2"/>
                </a:solidFill>
              </a:defRPr>
            </a:lvl1pPr>
            <a:lvl2pPr lvl="1" rtl="0">
              <a:spcBef>
                <a:spcPts val="0"/>
              </a:spcBef>
              <a:spcAft>
                <a:spcPts val="0"/>
              </a:spcAft>
              <a:buSzPts val="3200"/>
              <a:buNone/>
              <a:defRPr>
                <a:latin typeface="Arial"/>
                <a:ea typeface="Arial"/>
                <a:cs typeface="Arial"/>
                <a:sym typeface="Arial"/>
              </a:defRPr>
            </a:lvl2pPr>
            <a:lvl3pPr lvl="2" rtl="0">
              <a:spcBef>
                <a:spcPts val="0"/>
              </a:spcBef>
              <a:spcAft>
                <a:spcPts val="0"/>
              </a:spcAft>
              <a:buSzPts val="3200"/>
              <a:buNone/>
              <a:defRPr>
                <a:latin typeface="Arial"/>
                <a:ea typeface="Arial"/>
                <a:cs typeface="Arial"/>
                <a:sym typeface="Arial"/>
              </a:defRPr>
            </a:lvl3pPr>
            <a:lvl4pPr lvl="3" rtl="0">
              <a:spcBef>
                <a:spcPts val="0"/>
              </a:spcBef>
              <a:spcAft>
                <a:spcPts val="0"/>
              </a:spcAft>
              <a:buSzPts val="3200"/>
              <a:buNone/>
              <a:defRPr>
                <a:latin typeface="Arial"/>
                <a:ea typeface="Arial"/>
                <a:cs typeface="Arial"/>
                <a:sym typeface="Arial"/>
              </a:defRPr>
            </a:lvl4pPr>
            <a:lvl5pPr lvl="4" rtl="0">
              <a:spcBef>
                <a:spcPts val="0"/>
              </a:spcBef>
              <a:spcAft>
                <a:spcPts val="0"/>
              </a:spcAft>
              <a:buSzPts val="3200"/>
              <a:buNone/>
              <a:defRPr>
                <a:latin typeface="Arial"/>
                <a:ea typeface="Arial"/>
                <a:cs typeface="Arial"/>
                <a:sym typeface="Arial"/>
              </a:defRPr>
            </a:lvl5pPr>
            <a:lvl6pPr lvl="5" rtl="0">
              <a:spcBef>
                <a:spcPts val="0"/>
              </a:spcBef>
              <a:spcAft>
                <a:spcPts val="0"/>
              </a:spcAft>
              <a:buSzPts val="3200"/>
              <a:buNone/>
              <a:defRPr>
                <a:latin typeface="Arial"/>
                <a:ea typeface="Arial"/>
                <a:cs typeface="Arial"/>
                <a:sym typeface="Arial"/>
              </a:defRPr>
            </a:lvl6pPr>
            <a:lvl7pPr lvl="6" rtl="0">
              <a:spcBef>
                <a:spcPts val="0"/>
              </a:spcBef>
              <a:spcAft>
                <a:spcPts val="0"/>
              </a:spcAft>
              <a:buSzPts val="3200"/>
              <a:buNone/>
              <a:defRPr>
                <a:latin typeface="Arial"/>
                <a:ea typeface="Arial"/>
                <a:cs typeface="Arial"/>
                <a:sym typeface="Arial"/>
              </a:defRPr>
            </a:lvl7pPr>
            <a:lvl8pPr lvl="7" rtl="0">
              <a:spcBef>
                <a:spcPts val="0"/>
              </a:spcBef>
              <a:spcAft>
                <a:spcPts val="0"/>
              </a:spcAft>
              <a:buSzPts val="3200"/>
              <a:buNone/>
              <a:defRPr>
                <a:latin typeface="Arial"/>
                <a:ea typeface="Arial"/>
                <a:cs typeface="Arial"/>
                <a:sym typeface="Arial"/>
              </a:defRPr>
            </a:lvl8pPr>
            <a:lvl9pPr lvl="8" rtl="0">
              <a:spcBef>
                <a:spcPts val="0"/>
              </a:spcBef>
              <a:spcAft>
                <a:spcPts val="0"/>
              </a:spcAft>
              <a:buSzPts val="3200"/>
              <a:buNone/>
              <a:defRPr>
                <a:latin typeface="Arial"/>
                <a:ea typeface="Arial"/>
                <a:cs typeface="Arial"/>
                <a:sym typeface="Arial"/>
              </a:defRPr>
            </a:lvl9pPr>
          </a:lstStyle>
          <a:p>
            <a:endParaRPr/>
          </a:p>
        </p:txBody>
      </p:sp>
      <p:sp>
        <p:nvSpPr>
          <p:cNvPr id="27" name="Google Shape;27;p4"/>
          <p:cNvSpPr txBox="1">
            <a:spLocks noGrp="1"/>
          </p:cNvSpPr>
          <p:nvPr>
            <p:ph type="subTitle" idx="1"/>
          </p:nvPr>
        </p:nvSpPr>
        <p:spPr>
          <a:xfrm>
            <a:off x="3291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lnSpc>
                <a:spcPct val="100000"/>
              </a:lnSpc>
              <a:spcBef>
                <a:spcPts val="0"/>
              </a:spcBef>
              <a:spcAft>
                <a:spcPts val="0"/>
              </a:spcAft>
              <a:buClr>
                <a:schemeClr val="dk1"/>
              </a:buClr>
              <a:buSzPts val="1600"/>
              <a:buNone/>
              <a:defRPr>
                <a:solidFill>
                  <a:schemeClr val="dk1"/>
                </a:solidFill>
              </a:defRPr>
            </a:lvl2pPr>
            <a:lvl3pPr lvl="2" rtl="0">
              <a:lnSpc>
                <a:spcPct val="100000"/>
              </a:lnSpc>
              <a:spcBef>
                <a:spcPts val="0"/>
              </a:spcBef>
              <a:spcAft>
                <a:spcPts val="0"/>
              </a:spcAft>
              <a:buClr>
                <a:schemeClr val="dk1"/>
              </a:buClr>
              <a:buSzPts val="16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600"/>
              <a:buNone/>
              <a:defRPr>
                <a:solidFill>
                  <a:schemeClr val="dk1"/>
                </a:solidFill>
              </a:defRPr>
            </a:lvl5pPr>
            <a:lvl6pPr lvl="5" rtl="0">
              <a:lnSpc>
                <a:spcPct val="100000"/>
              </a:lnSpc>
              <a:spcBef>
                <a:spcPts val="0"/>
              </a:spcBef>
              <a:spcAft>
                <a:spcPts val="0"/>
              </a:spcAft>
              <a:buClr>
                <a:schemeClr val="dk1"/>
              </a:buClr>
              <a:buSzPts val="1600"/>
              <a:buNone/>
              <a:defRPr>
                <a:solidFill>
                  <a:schemeClr val="dk1"/>
                </a:solidFill>
              </a:defRPr>
            </a:lvl6pPr>
            <a:lvl7pPr lvl="6" rtl="0">
              <a:lnSpc>
                <a:spcPct val="100000"/>
              </a:lnSpc>
              <a:spcBef>
                <a:spcPts val="0"/>
              </a:spcBef>
              <a:spcAft>
                <a:spcPts val="0"/>
              </a:spcAft>
              <a:buClr>
                <a:schemeClr val="dk1"/>
              </a:buClr>
              <a:buSzPts val="1600"/>
              <a:buNone/>
              <a:defRPr>
                <a:solidFill>
                  <a:schemeClr val="dk1"/>
                </a:solidFill>
              </a:defRPr>
            </a:lvl7pPr>
            <a:lvl8pPr lvl="7" rtl="0">
              <a:lnSpc>
                <a:spcPct val="100000"/>
              </a:lnSpc>
              <a:spcBef>
                <a:spcPts val="0"/>
              </a:spcBef>
              <a:spcAft>
                <a:spcPts val="0"/>
              </a:spcAft>
              <a:buClr>
                <a:schemeClr val="dk1"/>
              </a:buClr>
              <a:buSzPts val="1600"/>
              <a:buNone/>
              <a:defRPr>
                <a:solidFill>
                  <a:schemeClr val="dk1"/>
                </a:solidFill>
              </a:defRPr>
            </a:lvl8pPr>
            <a:lvl9pPr lvl="8" rtl="0">
              <a:lnSpc>
                <a:spcPct val="100000"/>
              </a:lnSpc>
              <a:spcBef>
                <a:spcPts val="0"/>
              </a:spcBef>
              <a:spcAft>
                <a:spcPts val="0"/>
              </a:spcAft>
              <a:buClr>
                <a:schemeClr val="dk1"/>
              </a:buClr>
              <a:buSzPts val="1600"/>
              <a:buNone/>
              <a:defRPr>
                <a:solidFill>
                  <a:schemeClr val="dk1"/>
                </a:solidFill>
              </a:defRPr>
            </a:lvl9pPr>
          </a:lstStyle>
          <a:p>
            <a:endParaRPr/>
          </a:p>
        </p:txBody>
      </p:sp>
      <p:sp>
        <p:nvSpPr>
          <p:cNvPr id="28" name="Google Shape;28;p4"/>
          <p:cNvSpPr txBox="1">
            <a:spLocks noGrp="1"/>
          </p:cNvSpPr>
          <p:nvPr>
            <p:ph type="subTitle" idx="3"/>
          </p:nvPr>
        </p:nvSpPr>
        <p:spPr>
          <a:xfrm>
            <a:off x="61969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spcBef>
                <a:spcPts val="0"/>
              </a:spcBef>
              <a:spcAft>
                <a:spcPts val="0"/>
              </a:spcAft>
              <a:buClr>
                <a:schemeClr val="dk1"/>
              </a:buClr>
              <a:buSzPts val="1600"/>
              <a:buNone/>
              <a:defRPr>
                <a:solidFill>
                  <a:schemeClr val="dk1"/>
                </a:solidFill>
              </a:defRPr>
            </a:lvl2pPr>
            <a:lvl3pPr lvl="2" rtl="0">
              <a:spcBef>
                <a:spcPts val="0"/>
              </a:spcBef>
              <a:spcAft>
                <a:spcPts val="0"/>
              </a:spcAft>
              <a:buClr>
                <a:schemeClr val="dk1"/>
              </a:buClr>
              <a:buSzPts val="16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600"/>
              <a:buNone/>
              <a:defRPr>
                <a:solidFill>
                  <a:schemeClr val="dk1"/>
                </a:solidFill>
              </a:defRPr>
            </a:lvl5pPr>
            <a:lvl6pPr lvl="5" rtl="0">
              <a:spcBef>
                <a:spcPts val="0"/>
              </a:spcBef>
              <a:spcAft>
                <a:spcPts val="0"/>
              </a:spcAft>
              <a:buClr>
                <a:schemeClr val="dk1"/>
              </a:buClr>
              <a:buSzPts val="1600"/>
              <a:buNone/>
              <a:defRPr>
                <a:solidFill>
                  <a:schemeClr val="dk1"/>
                </a:solidFill>
              </a:defRPr>
            </a:lvl6pPr>
            <a:lvl7pPr lvl="6" rtl="0">
              <a:spcBef>
                <a:spcPts val="0"/>
              </a:spcBef>
              <a:spcAft>
                <a:spcPts val="0"/>
              </a:spcAft>
              <a:buClr>
                <a:schemeClr val="dk1"/>
              </a:buClr>
              <a:buSzPts val="1600"/>
              <a:buNone/>
              <a:defRPr>
                <a:solidFill>
                  <a:schemeClr val="dk1"/>
                </a:solidFill>
              </a:defRPr>
            </a:lvl7pPr>
            <a:lvl8pPr lvl="7" rtl="0">
              <a:spcBef>
                <a:spcPts val="0"/>
              </a:spcBef>
              <a:spcAft>
                <a:spcPts val="0"/>
              </a:spcAft>
              <a:buClr>
                <a:schemeClr val="dk1"/>
              </a:buClr>
              <a:buSzPts val="1600"/>
              <a:buNone/>
              <a:defRPr>
                <a:solidFill>
                  <a:schemeClr val="dk1"/>
                </a:solidFill>
              </a:defRPr>
            </a:lvl8pPr>
            <a:lvl9pPr lvl="8" rtl="0">
              <a:spcBef>
                <a:spcPts val="0"/>
              </a:spcBef>
              <a:spcAft>
                <a:spcPts val="0"/>
              </a:spcAft>
              <a:buClr>
                <a:schemeClr val="dk1"/>
              </a:buClr>
              <a:buSzPts val="1600"/>
              <a:buNone/>
              <a:defRPr>
                <a:solidFill>
                  <a:schemeClr val="dk1"/>
                </a:solidFill>
              </a:defRPr>
            </a:lvl9pPr>
          </a:lstStyle>
          <a:p>
            <a:endParaRPr/>
          </a:p>
        </p:txBody>
      </p:sp>
    </p:spTree>
    <p:extLst>
      <p:ext uri="{BB962C8B-B14F-4D97-AF65-F5344CB8AC3E}">
        <p14:creationId xmlns:p14="http://schemas.microsoft.com/office/powerpoint/2010/main" val="2949196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 id="2147483697" r:id="rId35"/>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30.xml"/><Relationship Id="rId5" Type="http://schemas.openxmlformats.org/officeDocument/2006/relationships/image" Target="../media/image38.jpeg"/><Relationship Id="rId4" Type="http://schemas.openxmlformats.org/officeDocument/2006/relationships/image" Target="../media/image37.jpeg"/></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31.xml"/><Relationship Id="rId5" Type="http://schemas.openxmlformats.org/officeDocument/2006/relationships/image" Target="../media/image42.jpeg"/><Relationship Id="rId4" Type="http://schemas.openxmlformats.org/officeDocument/2006/relationships/image" Target="../media/image41.jpeg"/></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9" Type="http://schemas.openxmlformats.org/officeDocument/2006/relationships/image" Target="../media/image80.png"/><Relationship Id="rId21" Type="http://schemas.openxmlformats.org/officeDocument/2006/relationships/image" Target="../media/image62.png"/><Relationship Id="rId34" Type="http://schemas.openxmlformats.org/officeDocument/2006/relationships/image" Target="../media/image75.png"/><Relationship Id="rId42" Type="http://schemas.openxmlformats.org/officeDocument/2006/relationships/image" Target="../media/image83.png"/><Relationship Id="rId7" Type="http://schemas.openxmlformats.org/officeDocument/2006/relationships/image" Target="../media/image48.png"/><Relationship Id="rId2" Type="http://schemas.openxmlformats.org/officeDocument/2006/relationships/image" Target="../media/image43.png"/><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41" Type="http://schemas.openxmlformats.org/officeDocument/2006/relationships/image" Target="../media/image82.png"/><Relationship Id="rId1" Type="http://schemas.openxmlformats.org/officeDocument/2006/relationships/slideLayout" Target="../slideLayouts/slideLayout22.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37" Type="http://schemas.openxmlformats.org/officeDocument/2006/relationships/image" Target="../media/image78.png"/><Relationship Id="rId40" Type="http://schemas.openxmlformats.org/officeDocument/2006/relationships/image" Target="../media/image81.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7.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6.png"/><Relationship Id="rId43" Type="http://schemas.openxmlformats.org/officeDocument/2006/relationships/image" Target="../media/image84.png"/><Relationship Id="rId8" Type="http://schemas.openxmlformats.org/officeDocument/2006/relationships/image" Target="../media/image49.png"/><Relationship Id="rId3" Type="http://schemas.openxmlformats.org/officeDocument/2006/relationships/image" Target="../media/image44.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38" Type="http://schemas.openxmlformats.org/officeDocument/2006/relationships/image" Target="../media/image79.png"/></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22.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6.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5.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67.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6" Type="http://schemas.openxmlformats.org/officeDocument/2006/relationships/image" Target="../media/image131.png"/><Relationship Id="rId21" Type="http://schemas.openxmlformats.org/officeDocument/2006/relationships/image" Target="../media/image126.svg"/><Relationship Id="rId42" Type="http://schemas.openxmlformats.org/officeDocument/2006/relationships/image" Target="../media/image147.png"/><Relationship Id="rId47" Type="http://schemas.openxmlformats.org/officeDocument/2006/relationships/image" Target="../media/image152.svg"/><Relationship Id="rId63" Type="http://schemas.openxmlformats.org/officeDocument/2006/relationships/image" Target="../media/image168.svg"/><Relationship Id="rId68" Type="http://schemas.openxmlformats.org/officeDocument/2006/relationships/image" Target="../media/image173.png"/><Relationship Id="rId84" Type="http://schemas.openxmlformats.org/officeDocument/2006/relationships/image" Target="../media/image189.png"/><Relationship Id="rId16" Type="http://schemas.openxmlformats.org/officeDocument/2006/relationships/image" Target="../media/image121.png"/><Relationship Id="rId11" Type="http://schemas.openxmlformats.org/officeDocument/2006/relationships/image" Target="../media/image116.svg"/><Relationship Id="rId32" Type="http://schemas.openxmlformats.org/officeDocument/2006/relationships/image" Target="../media/image137.png"/><Relationship Id="rId37" Type="http://schemas.openxmlformats.org/officeDocument/2006/relationships/image" Target="../media/image142.svg"/><Relationship Id="rId53" Type="http://schemas.openxmlformats.org/officeDocument/2006/relationships/image" Target="../media/image158.svg"/><Relationship Id="rId58" Type="http://schemas.openxmlformats.org/officeDocument/2006/relationships/image" Target="../media/image163.png"/><Relationship Id="rId74" Type="http://schemas.openxmlformats.org/officeDocument/2006/relationships/image" Target="../media/image179.png"/><Relationship Id="rId79" Type="http://schemas.openxmlformats.org/officeDocument/2006/relationships/image" Target="../media/image184.svg"/><Relationship Id="rId5" Type="http://schemas.openxmlformats.org/officeDocument/2006/relationships/image" Target="../media/image110.svg"/><Relationship Id="rId19" Type="http://schemas.openxmlformats.org/officeDocument/2006/relationships/image" Target="../media/image124.sv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svg"/><Relationship Id="rId30" Type="http://schemas.openxmlformats.org/officeDocument/2006/relationships/image" Target="../media/image135.png"/><Relationship Id="rId35" Type="http://schemas.openxmlformats.org/officeDocument/2006/relationships/image" Target="../media/image140.svg"/><Relationship Id="rId43" Type="http://schemas.openxmlformats.org/officeDocument/2006/relationships/image" Target="../media/image148.svg"/><Relationship Id="rId48" Type="http://schemas.openxmlformats.org/officeDocument/2006/relationships/image" Target="../media/image153.png"/><Relationship Id="rId56" Type="http://schemas.openxmlformats.org/officeDocument/2006/relationships/image" Target="../media/image161.png"/><Relationship Id="rId64" Type="http://schemas.openxmlformats.org/officeDocument/2006/relationships/image" Target="../media/image169.png"/><Relationship Id="rId69" Type="http://schemas.openxmlformats.org/officeDocument/2006/relationships/image" Target="../media/image174.svg"/><Relationship Id="rId77" Type="http://schemas.openxmlformats.org/officeDocument/2006/relationships/image" Target="../media/image182.svg"/><Relationship Id="rId8" Type="http://schemas.openxmlformats.org/officeDocument/2006/relationships/image" Target="../media/image113.png"/><Relationship Id="rId51" Type="http://schemas.openxmlformats.org/officeDocument/2006/relationships/image" Target="../media/image156.svg"/><Relationship Id="rId72" Type="http://schemas.openxmlformats.org/officeDocument/2006/relationships/image" Target="../media/image177.png"/><Relationship Id="rId80" Type="http://schemas.openxmlformats.org/officeDocument/2006/relationships/image" Target="../media/image185.png"/><Relationship Id="rId85" Type="http://schemas.openxmlformats.org/officeDocument/2006/relationships/image" Target="../media/image190.svg"/><Relationship Id="rId3" Type="http://schemas.openxmlformats.org/officeDocument/2006/relationships/image" Target="../media/image108.svg"/><Relationship Id="rId12" Type="http://schemas.openxmlformats.org/officeDocument/2006/relationships/image" Target="../media/image117.png"/><Relationship Id="rId17" Type="http://schemas.openxmlformats.org/officeDocument/2006/relationships/image" Target="../media/image122.svg"/><Relationship Id="rId25" Type="http://schemas.openxmlformats.org/officeDocument/2006/relationships/image" Target="../media/image130.svg"/><Relationship Id="rId33" Type="http://schemas.openxmlformats.org/officeDocument/2006/relationships/image" Target="../media/image138.svg"/><Relationship Id="rId38" Type="http://schemas.openxmlformats.org/officeDocument/2006/relationships/image" Target="../media/image143.png"/><Relationship Id="rId46" Type="http://schemas.openxmlformats.org/officeDocument/2006/relationships/image" Target="../media/image151.png"/><Relationship Id="rId59" Type="http://schemas.openxmlformats.org/officeDocument/2006/relationships/image" Target="../media/image164.svg"/><Relationship Id="rId67" Type="http://schemas.openxmlformats.org/officeDocument/2006/relationships/image" Target="../media/image172.svg"/><Relationship Id="rId20" Type="http://schemas.openxmlformats.org/officeDocument/2006/relationships/image" Target="../media/image125.png"/><Relationship Id="rId41" Type="http://schemas.openxmlformats.org/officeDocument/2006/relationships/image" Target="../media/image146.svg"/><Relationship Id="rId54" Type="http://schemas.openxmlformats.org/officeDocument/2006/relationships/image" Target="../media/image159.png"/><Relationship Id="rId62" Type="http://schemas.openxmlformats.org/officeDocument/2006/relationships/image" Target="../media/image167.png"/><Relationship Id="rId70" Type="http://schemas.openxmlformats.org/officeDocument/2006/relationships/image" Target="../media/image175.png"/><Relationship Id="rId75" Type="http://schemas.openxmlformats.org/officeDocument/2006/relationships/image" Target="../media/image180.svg"/><Relationship Id="rId83" Type="http://schemas.openxmlformats.org/officeDocument/2006/relationships/image" Target="../media/image188.svg"/><Relationship Id="rId1" Type="http://schemas.openxmlformats.org/officeDocument/2006/relationships/slideLayout" Target="../slideLayouts/slideLayout22.xml"/><Relationship Id="rId6" Type="http://schemas.openxmlformats.org/officeDocument/2006/relationships/image" Target="../media/image111.png"/><Relationship Id="rId15" Type="http://schemas.openxmlformats.org/officeDocument/2006/relationships/image" Target="../media/image120.svg"/><Relationship Id="rId23" Type="http://schemas.openxmlformats.org/officeDocument/2006/relationships/image" Target="../media/image128.svg"/><Relationship Id="rId28" Type="http://schemas.openxmlformats.org/officeDocument/2006/relationships/image" Target="../media/image133.png"/><Relationship Id="rId36" Type="http://schemas.openxmlformats.org/officeDocument/2006/relationships/image" Target="../media/image141.png"/><Relationship Id="rId49" Type="http://schemas.openxmlformats.org/officeDocument/2006/relationships/image" Target="../media/image154.svg"/><Relationship Id="rId57" Type="http://schemas.openxmlformats.org/officeDocument/2006/relationships/image" Target="../media/image162.svg"/><Relationship Id="rId10" Type="http://schemas.openxmlformats.org/officeDocument/2006/relationships/image" Target="../media/image115.png"/><Relationship Id="rId31" Type="http://schemas.openxmlformats.org/officeDocument/2006/relationships/image" Target="../media/image136.svg"/><Relationship Id="rId44" Type="http://schemas.openxmlformats.org/officeDocument/2006/relationships/image" Target="../media/image149.png"/><Relationship Id="rId52" Type="http://schemas.openxmlformats.org/officeDocument/2006/relationships/image" Target="../media/image157.png"/><Relationship Id="rId60" Type="http://schemas.openxmlformats.org/officeDocument/2006/relationships/image" Target="../media/image165.png"/><Relationship Id="rId65" Type="http://schemas.openxmlformats.org/officeDocument/2006/relationships/image" Target="../media/image170.svg"/><Relationship Id="rId73" Type="http://schemas.openxmlformats.org/officeDocument/2006/relationships/image" Target="../media/image178.svg"/><Relationship Id="rId78" Type="http://schemas.openxmlformats.org/officeDocument/2006/relationships/image" Target="../media/image183.png"/><Relationship Id="rId81" Type="http://schemas.openxmlformats.org/officeDocument/2006/relationships/image" Target="../media/image186.svg"/><Relationship Id="rId4" Type="http://schemas.openxmlformats.org/officeDocument/2006/relationships/image" Target="../media/image109.png"/><Relationship Id="rId9" Type="http://schemas.openxmlformats.org/officeDocument/2006/relationships/image" Target="../media/image114.svg"/><Relationship Id="rId13" Type="http://schemas.openxmlformats.org/officeDocument/2006/relationships/image" Target="../media/image118.svg"/><Relationship Id="rId18" Type="http://schemas.openxmlformats.org/officeDocument/2006/relationships/image" Target="../media/image123.png"/><Relationship Id="rId39" Type="http://schemas.openxmlformats.org/officeDocument/2006/relationships/image" Target="../media/image144.svg"/><Relationship Id="rId34" Type="http://schemas.openxmlformats.org/officeDocument/2006/relationships/image" Target="../media/image139.png"/><Relationship Id="rId50" Type="http://schemas.openxmlformats.org/officeDocument/2006/relationships/image" Target="../media/image155.png"/><Relationship Id="rId55" Type="http://schemas.openxmlformats.org/officeDocument/2006/relationships/image" Target="../media/image160.svg"/><Relationship Id="rId76" Type="http://schemas.openxmlformats.org/officeDocument/2006/relationships/image" Target="../media/image181.png"/><Relationship Id="rId7" Type="http://schemas.openxmlformats.org/officeDocument/2006/relationships/image" Target="../media/image112.svg"/><Relationship Id="rId71" Type="http://schemas.openxmlformats.org/officeDocument/2006/relationships/image" Target="../media/image176.svg"/><Relationship Id="rId2" Type="http://schemas.openxmlformats.org/officeDocument/2006/relationships/image" Target="../media/image107.png"/><Relationship Id="rId29" Type="http://schemas.openxmlformats.org/officeDocument/2006/relationships/image" Target="../media/image134.svg"/><Relationship Id="rId24" Type="http://schemas.openxmlformats.org/officeDocument/2006/relationships/image" Target="../media/image129.png"/><Relationship Id="rId40" Type="http://schemas.openxmlformats.org/officeDocument/2006/relationships/image" Target="../media/image145.png"/><Relationship Id="rId45" Type="http://schemas.openxmlformats.org/officeDocument/2006/relationships/image" Target="../media/image150.svg"/><Relationship Id="rId66" Type="http://schemas.openxmlformats.org/officeDocument/2006/relationships/image" Target="../media/image171.png"/><Relationship Id="rId61" Type="http://schemas.openxmlformats.org/officeDocument/2006/relationships/image" Target="../media/image166.svg"/><Relationship Id="rId82" Type="http://schemas.openxmlformats.org/officeDocument/2006/relationships/image" Target="../media/image187.png"/></Relationships>
</file>

<file path=ppt/slides/_rels/slide31.xml.rels><?xml version="1.0" encoding="UTF-8" standalone="yes"?>
<Relationships xmlns="http://schemas.openxmlformats.org/package/2006/relationships"><Relationship Id="rId13" Type="http://schemas.openxmlformats.org/officeDocument/2006/relationships/image" Target="../media/image198.svg"/><Relationship Id="rId18" Type="http://schemas.openxmlformats.org/officeDocument/2006/relationships/image" Target="../media/image203.png"/><Relationship Id="rId26" Type="http://schemas.openxmlformats.org/officeDocument/2006/relationships/image" Target="../media/image113.png"/><Relationship Id="rId39" Type="http://schemas.openxmlformats.org/officeDocument/2006/relationships/image" Target="../media/image222.svg"/><Relationship Id="rId21" Type="http://schemas.openxmlformats.org/officeDocument/2006/relationships/image" Target="../media/image206.svg"/><Relationship Id="rId34" Type="http://schemas.openxmlformats.org/officeDocument/2006/relationships/image" Target="../media/image217.png"/><Relationship Id="rId42" Type="http://schemas.openxmlformats.org/officeDocument/2006/relationships/image" Target="../media/image225.png"/><Relationship Id="rId7" Type="http://schemas.openxmlformats.org/officeDocument/2006/relationships/image" Target="../media/image194.svg"/><Relationship Id="rId2" Type="http://schemas.openxmlformats.org/officeDocument/2006/relationships/image" Target="../media/image191.png"/><Relationship Id="rId16" Type="http://schemas.openxmlformats.org/officeDocument/2006/relationships/image" Target="../media/image201.png"/><Relationship Id="rId29" Type="http://schemas.openxmlformats.org/officeDocument/2006/relationships/image" Target="../media/image212.svg"/><Relationship Id="rId1" Type="http://schemas.openxmlformats.org/officeDocument/2006/relationships/slideLayout" Target="../slideLayouts/slideLayout22.xml"/><Relationship Id="rId6" Type="http://schemas.openxmlformats.org/officeDocument/2006/relationships/image" Target="../media/image193.png"/><Relationship Id="rId11" Type="http://schemas.openxmlformats.org/officeDocument/2006/relationships/image" Target="../media/image110.svg"/><Relationship Id="rId24" Type="http://schemas.openxmlformats.org/officeDocument/2006/relationships/image" Target="../media/image209.png"/><Relationship Id="rId32" Type="http://schemas.openxmlformats.org/officeDocument/2006/relationships/image" Target="../media/image215.png"/><Relationship Id="rId37" Type="http://schemas.openxmlformats.org/officeDocument/2006/relationships/image" Target="../media/image220.svg"/><Relationship Id="rId40" Type="http://schemas.openxmlformats.org/officeDocument/2006/relationships/image" Target="../media/image223.png"/><Relationship Id="rId45" Type="http://schemas.openxmlformats.org/officeDocument/2006/relationships/image" Target="../media/image228.svg"/><Relationship Id="rId5" Type="http://schemas.openxmlformats.org/officeDocument/2006/relationships/image" Target="../media/image112.svg"/><Relationship Id="rId15" Type="http://schemas.openxmlformats.org/officeDocument/2006/relationships/image" Target="../media/image200.svg"/><Relationship Id="rId23" Type="http://schemas.openxmlformats.org/officeDocument/2006/relationships/image" Target="../media/image208.svg"/><Relationship Id="rId28" Type="http://schemas.openxmlformats.org/officeDocument/2006/relationships/image" Target="../media/image211.png"/><Relationship Id="rId36" Type="http://schemas.openxmlformats.org/officeDocument/2006/relationships/image" Target="../media/image219.png"/><Relationship Id="rId10" Type="http://schemas.openxmlformats.org/officeDocument/2006/relationships/image" Target="../media/image109.png"/><Relationship Id="rId19" Type="http://schemas.openxmlformats.org/officeDocument/2006/relationships/image" Target="../media/image204.svg"/><Relationship Id="rId31" Type="http://schemas.openxmlformats.org/officeDocument/2006/relationships/image" Target="../media/image214.svg"/><Relationship Id="rId44" Type="http://schemas.openxmlformats.org/officeDocument/2006/relationships/image" Target="../media/image227.png"/><Relationship Id="rId4" Type="http://schemas.openxmlformats.org/officeDocument/2006/relationships/image" Target="../media/image111.png"/><Relationship Id="rId9" Type="http://schemas.openxmlformats.org/officeDocument/2006/relationships/image" Target="../media/image196.svg"/><Relationship Id="rId14" Type="http://schemas.openxmlformats.org/officeDocument/2006/relationships/image" Target="../media/image199.png"/><Relationship Id="rId22" Type="http://schemas.openxmlformats.org/officeDocument/2006/relationships/image" Target="../media/image207.png"/><Relationship Id="rId27" Type="http://schemas.openxmlformats.org/officeDocument/2006/relationships/image" Target="../media/image114.svg"/><Relationship Id="rId30" Type="http://schemas.openxmlformats.org/officeDocument/2006/relationships/image" Target="../media/image213.png"/><Relationship Id="rId35" Type="http://schemas.openxmlformats.org/officeDocument/2006/relationships/image" Target="../media/image218.svg"/><Relationship Id="rId43" Type="http://schemas.openxmlformats.org/officeDocument/2006/relationships/image" Target="../media/image226.svg"/><Relationship Id="rId8" Type="http://schemas.openxmlformats.org/officeDocument/2006/relationships/image" Target="../media/image195.png"/><Relationship Id="rId3" Type="http://schemas.openxmlformats.org/officeDocument/2006/relationships/image" Target="../media/image192.svg"/><Relationship Id="rId12" Type="http://schemas.openxmlformats.org/officeDocument/2006/relationships/image" Target="../media/image197.png"/><Relationship Id="rId17" Type="http://schemas.openxmlformats.org/officeDocument/2006/relationships/image" Target="../media/image202.svg"/><Relationship Id="rId25" Type="http://schemas.openxmlformats.org/officeDocument/2006/relationships/image" Target="../media/image210.svg"/><Relationship Id="rId33" Type="http://schemas.openxmlformats.org/officeDocument/2006/relationships/image" Target="../media/image216.svg"/><Relationship Id="rId38" Type="http://schemas.openxmlformats.org/officeDocument/2006/relationships/image" Target="../media/image221.png"/><Relationship Id="rId20" Type="http://schemas.openxmlformats.org/officeDocument/2006/relationships/image" Target="../media/image205.png"/><Relationship Id="rId41" Type="http://schemas.openxmlformats.org/officeDocument/2006/relationships/image" Target="../media/image224.svg"/></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268E6060-9406-770E-8511-3AA065FD96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860"/>
          <a:stretch/>
        </p:blipFill>
        <p:spPr bwMode="auto">
          <a:xfrm>
            <a:off x="0" y="1370975"/>
            <a:ext cx="12192000" cy="549595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27030B2-0679-CB30-CE21-49FDDB83C8B3}"/>
              </a:ext>
            </a:extLst>
          </p:cNvPr>
          <p:cNvSpPr/>
          <p:nvPr/>
        </p:nvSpPr>
        <p:spPr>
          <a:xfrm>
            <a:off x="0" y="1370975"/>
            <a:ext cx="12192000" cy="5495952"/>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6" name="Graphic 5">
            <a:extLst>
              <a:ext uri="{FF2B5EF4-FFF2-40B4-BE49-F238E27FC236}">
                <a16:creationId xmlns:a16="http://schemas.microsoft.com/office/drawing/2014/main" id="{73D745B2-718D-B82C-4D0D-B5274F6996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1" y="289486"/>
            <a:ext cx="1311563" cy="765039"/>
          </a:xfrm>
          <a:prstGeom prst="rect">
            <a:avLst/>
          </a:prstGeom>
        </p:spPr>
      </p:pic>
      <p:sp>
        <p:nvSpPr>
          <p:cNvPr id="8" name="Title 1">
            <a:extLst>
              <a:ext uri="{FF2B5EF4-FFF2-40B4-BE49-F238E27FC236}">
                <a16:creationId xmlns:a16="http://schemas.microsoft.com/office/drawing/2014/main" id="{912FD355-6243-8560-E663-EC879BCBCBD2}"/>
              </a:ext>
            </a:extLst>
          </p:cNvPr>
          <p:cNvSpPr>
            <a:spLocks noGrp="1"/>
          </p:cNvSpPr>
          <p:nvPr>
            <p:ph type="ctrTitle"/>
          </p:nvPr>
        </p:nvSpPr>
        <p:spPr>
          <a:xfrm>
            <a:off x="914401" y="1843741"/>
            <a:ext cx="10648708" cy="1709680"/>
          </a:xfrm>
        </p:spPr>
        <p:txBody>
          <a:bodyPr spcFirstLastPara="1" vert="horz" wrap="square" lIns="0" tIns="91425" rIns="91425" bIns="0" rtlCol="0" anchor="b" anchorCtr="0">
            <a:noAutofit/>
          </a:bodyPr>
          <a:lstStyle>
            <a:lvl1pPr algn="l">
              <a:defRPr sz="4000" cap="all" baseline="0">
                <a:solidFill>
                  <a:schemeClr val="bg1"/>
                </a:solidFill>
              </a:defRPr>
            </a:lvl1pPr>
          </a:lstStyle>
          <a:p>
            <a:r>
              <a:rPr lang="en-US" sz="3600" dirty="0">
                <a:latin typeface="Segoe UI" panose="020B0502040204020203" pitchFamily="34" charset="0"/>
                <a:cs typeface="Segoe UI" panose="020B0502040204020203" pitchFamily="34" charset="0"/>
              </a:rPr>
              <a:t>Is Just-in-Time really the most profitable supply chain strategy for Nike in an uncertain world?</a:t>
            </a:r>
          </a:p>
        </p:txBody>
      </p:sp>
      <p:sp>
        <p:nvSpPr>
          <p:cNvPr id="9" name="Subtitle 2">
            <a:extLst>
              <a:ext uri="{FF2B5EF4-FFF2-40B4-BE49-F238E27FC236}">
                <a16:creationId xmlns:a16="http://schemas.microsoft.com/office/drawing/2014/main" id="{465C9A22-74C8-5131-A5B2-7FD3FE4EA111}"/>
              </a:ext>
            </a:extLst>
          </p:cNvPr>
          <p:cNvSpPr>
            <a:spLocks noGrp="1"/>
          </p:cNvSpPr>
          <p:nvPr>
            <p:ph type="subTitle" idx="1"/>
          </p:nvPr>
        </p:nvSpPr>
        <p:spPr>
          <a:xfrm>
            <a:off x="914399" y="4035114"/>
            <a:ext cx="10750063" cy="1590168"/>
          </a:xfrm>
        </p:spPr>
        <p:txBody>
          <a:bodyPr spcFirstLastPara="1" vert="horz" wrap="square" lIns="0" tIns="0" rIns="0" bIns="0" rtlCol="0" anchor="b"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800" b="0" dirty="0">
                <a:latin typeface="Segoe UI" panose="020B0502040204020203" pitchFamily="34" charset="0"/>
                <a:cs typeface="Segoe UI" panose="020B0502040204020203" pitchFamily="34" charset="0"/>
              </a:rPr>
              <a:t>15.093 Optimization Methods – Final Project</a:t>
            </a:r>
          </a:p>
          <a:p>
            <a:endParaRPr lang="en-US" sz="2400" dirty="0">
              <a:latin typeface="Segoe UI" panose="020B0502040204020203" pitchFamily="34" charset="0"/>
              <a:cs typeface="Segoe UI" panose="020B0502040204020203" pitchFamily="34" charset="0"/>
            </a:endParaRPr>
          </a:p>
          <a:p>
            <a:r>
              <a:rPr lang="en-US" sz="2400" dirty="0">
                <a:latin typeface="Segoe UI" panose="020B0502040204020203" pitchFamily="34" charset="0"/>
                <a:cs typeface="Segoe UI" panose="020B0502040204020203" pitchFamily="34" charset="0"/>
              </a:rPr>
              <a:t>Team Members: </a:t>
            </a:r>
            <a:br>
              <a:rPr lang="en-US" sz="2400" dirty="0">
                <a:latin typeface="Segoe UI" panose="020B0502040204020203" pitchFamily="34" charset="0"/>
                <a:cs typeface="Segoe UI" panose="020B0502040204020203" pitchFamily="34" charset="0"/>
              </a:rPr>
            </a:br>
            <a:r>
              <a:rPr lang="en-US" sz="2400" b="0" dirty="0">
                <a:latin typeface="Segoe UI" panose="020B0502040204020203" pitchFamily="34" charset="0"/>
                <a:cs typeface="Segoe UI" panose="020B0502040204020203" pitchFamily="34" charset="0"/>
              </a:rPr>
              <a:t>Jason Jia, Virginia Maguire</a:t>
            </a:r>
          </a:p>
        </p:txBody>
      </p:sp>
      <p:sp>
        <p:nvSpPr>
          <p:cNvPr id="3" name="TextBox 2">
            <a:extLst>
              <a:ext uri="{FF2B5EF4-FFF2-40B4-BE49-F238E27FC236}">
                <a16:creationId xmlns:a16="http://schemas.microsoft.com/office/drawing/2014/main" id="{2018B200-58C0-13F6-11F3-CA8B251F8100}"/>
              </a:ext>
            </a:extLst>
          </p:cNvPr>
          <p:cNvSpPr txBox="1"/>
          <p:nvPr/>
        </p:nvSpPr>
        <p:spPr>
          <a:xfrm>
            <a:off x="12319000" y="685800"/>
            <a:ext cx="184731" cy="369332"/>
          </a:xfrm>
          <a:prstGeom prst="rect">
            <a:avLst/>
          </a:prstGeom>
          <a:noFill/>
        </p:spPr>
        <p:txBody>
          <a:bodyPr wrap="none" rtlCol="0">
            <a:spAutoFit/>
          </a:bodyPr>
          <a:lstStyle/>
          <a:p>
            <a:endParaRPr lang="en-US"/>
          </a:p>
        </p:txBody>
      </p:sp>
      <p:pic>
        <p:nvPicPr>
          <p:cNvPr id="1026" name="Picture 2" descr="Nike Logo PNG Image - PurePNG | Free transparent CC0 PNG Image Library">
            <a:extLst>
              <a:ext uri="{FF2B5EF4-FFF2-40B4-BE49-F238E27FC236}">
                <a16:creationId xmlns:a16="http://schemas.microsoft.com/office/drawing/2014/main" id="{4C53EFC5-6306-C36C-8463-4F01D759BF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8925" y="419357"/>
            <a:ext cx="1351128" cy="53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6478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0</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5" name="Picture 4" descr="A group of graphs showing different types of lines&#10;&#10;Description automatically generated with medium confidence">
            <a:extLst>
              <a:ext uri="{FF2B5EF4-FFF2-40B4-BE49-F238E27FC236}">
                <a16:creationId xmlns:a16="http://schemas.microsoft.com/office/drawing/2014/main" id="{71FBE831-8894-DC92-3148-FE3C55D23C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132" y="0"/>
            <a:ext cx="7772400" cy="6524460"/>
          </a:xfrm>
          <a:prstGeom prst="rect">
            <a:avLst/>
          </a:prstGeom>
        </p:spPr>
      </p:pic>
    </p:spTree>
    <p:extLst>
      <p:ext uri="{BB962C8B-B14F-4D97-AF65-F5344CB8AC3E}">
        <p14:creationId xmlns:p14="http://schemas.microsoft.com/office/powerpoint/2010/main" val="113715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1</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7" name="Picture 6" descr="A graph of a graph of a function&#10;&#10;Description automatically generated with medium confidence">
            <a:extLst>
              <a:ext uri="{FF2B5EF4-FFF2-40B4-BE49-F238E27FC236}">
                <a16:creationId xmlns:a16="http://schemas.microsoft.com/office/drawing/2014/main" id="{267ACBD7-1BD8-E69C-EC03-3337AB93B3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6951" y="303166"/>
            <a:ext cx="7772400" cy="6524460"/>
          </a:xfrm>
          <a:prstGeom prst="rect">
            <a:avLst/>
          </a:prstGeom>
        </p:spPr>
      </p:pic>
    </p:spTree>
    <p:extLst>
      <p:ext uri="{BB962C8B-B14F-4D97-AF65-F5344CB8AC3E}">
        <p14:creationId xmlns:p14="http://schemas.microsoft.com/office/powerpoint/2010/main" val="37999267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2</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impact</a:t>
            </a:r>
            <a:br>
              <a:rPr lang="en-US" dirty="0"/>
            </a:br>
            <a:r>
              <a:rPr lang="en-GB" sz="2400" b="0" cap="none" dirty="0">
                <a:latin typeface="Arial" panose="020B0604020202020204" pitchFamily="34" charset="0"/>
                <a:cs typeface="Arial" panose="020B0604020202020204" pitchFamily="34" charset="0"/>
              </a:rPr>
              <a:t>Our findings suggest that </a:t>
            </a:r>
            <a:endParaRPr lang="en-US" b="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E527C3C-7DCE-17D4-42A8-CAEAC2CB5E96}"/>
              </a:ext>
            </a:extLst>
          </p:cNvPr>
          <p:cNvPicPr>
            <a:picLocks noChangeAspect="1"/>
          </p:cNvPicPr>
          <p:nvPr/>
        </p:nvPicPr>
        <p:blipFill>
          <a:blip r:embed="rId2"/>
          <a:stretch>
            <a:fillRect/>
          </a:stretch>
        </p:blipFill>
        <p:spPr>
          <a:xfrm>
            <a:off x="1890713" y="1567933"/>
            <a:ext cx="7772400" cy="4537044"/>
          </a:xfrm>
          <a:prstGeom prst="rect">
            <a:avLst/>
          </a:prstGeom>
        </p:spPr>
      </p:pic>
    </p:spTree>
    <p:extLst>
      <p:ext uri="{BB962C8B-B14F-4D97-AF65-F5344CB8AC3E}">
        <p14:creationId xmlns:p14="http://schemas.microsoft.com/office/powerpoint/2010/main" val="3517433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3DF78B6-99DE-891B-886E-EDC062DA09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Picture Placeholder 1">
            <a:extLst>
              <a:ext uri="{FF2B5EF4-FFF2-40B4-BE49-F238E27FC236}">
                <a16:creationId xmlns:a16="http://schemas.microsoft.com/office/drawing/2014/main" id="{EAD3A138-DDB6-BF39-CE11-7D93A1A7824E}"/>
              </a:ext>
            </a:extLst>
          </p:cNvPr>
          <p:cNvSpPr>
            <a:spLocks noGrp="1"/>
          </p:cNvSpPr>
          <p:nvPr>
            <p:ph type="pic" sz="quarter" idx="13"/>
          </p:nvPr>
        </p:nvSpPr>
        <p:spPr/>
        <p:txBody>
          <a:bodyPr/>
          <a:lstStyle/>
          <a:p>
            <a:endParaRPr lang="en-US" dirty="0"/>
          </a:p>
        </p:txBody>
      </p:sp>
      <p:sp>
        <p:nvSpPr>
          <p:cNvPr id="3" name="Slide Number Placeholder 2">
            <a:extLst>
              <a:ext uri="{FF2B5EF4-FFF2-40B4-BE49-F238E27FC236}">
                <a16:creationId xmlns:a16="http://schemas.microsoft.com/office/drawing/2014/main" id="{4FBA18EE-F119-E220-60EA-6446994F0F66}"/>
              </a:ext>
            </a:extLst>
          </p:cNvPr>
          <p:cNvSpPr>
            <a:spLocks noGrp="1"/>
          </p:cNvSpPr>
          <p:nvPr>
            <p:ph type="sldNum" sz="quarter" idx="16"/>
          </p:nvPr>
        </p:nvSpPr>
        <p:spPr>
          <a:prstGeom prst="rect">
            <a:avLst/>
          </a:prstGeom>
        </p:spPr>
        <p:txBody>
          <a:bodyPr/>
          <a:lstStyle/>
          <a:p>
            <a:fld id="{3A74F2AC-1E9A-41D4-8B35-A069FB343260}" type="slidenum">
              <a:rPr lang="en-GB" smtClean="0"/>
              <a:pPr/>
              <a:t>13</a:t>
            </a:fld>
            <a:endParaRPr lang="en-GB"/>
          </a:p>
        </p:txBody>
      </p:sp>
    </p:spTree>
    <p:extLst>
      <p:ext uri="{BB962C8B-B14F-4D97-AF65-F5344CB8AC3E}">
        <p14:creationId xmlns:p14="http://schemas.microsoft.com/office/powerpoint/2010/main" val="21627321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A9A27AC-604A-A7A5-6578-D2012BF57600}"/>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9" name="Text Placeholder 8">
            <a:extLst>
              <a:ext uri="{FF2B5EF4-FFF2-40B4-BE49-F238E27FC236}">
                <a16:creationId xmlns:a16="http://schemas.microsoft.com/office/drawing/2014/main" id="{4776095C-8472-9A3E-D797-8977FB336DC3}"/>
              </a:ext>
            </a:extLst>
          </p:cNvPr>
          <p:cNvSpPr>
            <a:spLocks noGrp="1"/>
          </p:cNvSpPr>
          <p:nvPr>
            <p:ph type="body" sz="quarter" idx="3"/>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4</a:t>
            </a:fld>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Two content with heading</a:t>
            </a:r>
          </a:p>
        </p:txBody>
      </p:sp>
    </p:spTree>
    <p:extLst>
      <p:ext uri="{BB962C8B-B14F-4D97-AF65-F5344CB8AC3E}">
        <p14:creationId xmlns:p14="http://schemas.microsoft.com/office/powerpoint/2010/main" val="2739682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7A09B8F9-2C5C-9432-6934-7872757D0E19}"/>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2" name="Text Placeholder 11">
            <a:extLst>
              <a:ext uri="{FF2B5EF4-FFF2-40B4-BE49-F238E27FC236}">
                <a16:creationId xmlns:a16="http://schemas.microsoft.com/office/drawing/2014/main" id="{0D64F3C5-AABF-87E2-DDBC-10DA6AC40434}"/>
              </a:ext>
            </a:extLst>
          </p:cNvPr>
          <p:cNvSpPr>
            <a:spLocks noGrp="1"/>
          </p:cNvSpPr>
          <p:nvPr>
            <p:ph type="body" sz="quarter" idx="3"/>
          </p:nvPr>
        </p:nvSpPr>
        <p:spPr/>
        <p:txBody>
          <a:bodyPr/>
          <a:lstStyle/>
          <a:p>
            <a:r>
              <a:rPr lang="en-GB" dirty="0"/>
              <a:t>This is a heading</a:t>
            </a:r>
          </a:p>
          <a:p>
            <a:endParaRPr lang="en-GB" dirty="0"/>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endParaRPr lang="en-GB" dirty="0"/>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Comparison</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5</a:t>
            </a:fld>
            <a:endParaRPr lang="en-GB"/>
          </a:p>
        </p:txBody>
      </p:sp>
    </p:spTree>
    <p:extLst>
      <p:ext uri="{BB962C8B-B14F-4D97-AF65-F5344CB8AC3E}">
        <p14:creationId xmlns:p14="http://schemas.microsoft.com/office/powerpoint/2010/main" val="27619502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a:p>
            <a:endParaRPr lang="en-GB" dirty="0"/>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9" name="Title 8">
            <a:extLst>
              <a:ext uri="{FF2B5EF4-FFF2-40B4-BE49-F238E27FC236}">
                <a16:creationId xmlns:a16="http://schemas.microsoft.com/office/drawing/2014/main" id="{F5630053-3C97-35DC-12B2-84BD36BC3AD0}"/>
              </a:ext>
            </a:extLst>
          </p:cNvPr>
          <p:cNvSpPr>
            <a:spLocks noGrp="1"/>
          </p:cNvSpPr>
          <p:nvPr>
            <p:ph type="title"/>
          </p:nvPr>
        </p:nvSpPr>
        <p:spPr>
          <a:xfrm>
            <a:off x="685800" y="303166"/>
            <a:ext cx="8977313" cy="1134949"/>
          </a:xfrm>
        </p:spPr>
        <p:txBody>
          <a:bodyPr/>
          <a:lstStyle/>
          <a:p>
            <a:r>
              <a:rPr lang="en-GB" dirty="0"/>
              <a:t>3 Column with subtitles</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1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16"/>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18"/>
          </p:nvPr>
        </p:nvSpPr>
        <p:spPr/>
        <p:txBody>
          <a:bodyPr/>
          <a:lstStyle/>
          <a:p>
            <a:fld id="{3A74F2AC-1E9A-41D4-8B35-A069FB343260}" type="slidenum">
              <a:rPr lang="en-GB" smtClean="0"/>
              <a:pPr/>
              <a:t>16</a:t>
            </a:fld>
            <a:endParaRPr lang="en-GB"/>
          </a:p>
        </p:txBody>
      </p:sp>
    </p:spTree>
    <p:extLst>
      <p:ext uri="{BB962C8B-B14F-4D97-AF65-F5344CB8AC3E}">
        <p14:creationId xmlns:p14="http://schemas.microsoft.com/office/powerpoint/2010/main" val="3025483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7"/>
          </p:nvPr>
        </p:nvSpPr>
        <p:spPr/>
        <p:txBody>
          <a:bodyPr/>
          <a:lstStyle/>
          <a:p>
            <a:r>
              <a:rPr lang="en-GB" dirty="0"/>
              <a:t>This is a heading</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7</a:t>
            </a:fld>
            <a:endParaRPr lang="en-GB"/>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21"/>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2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sz="half"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p:txBody>
          <a:bodyPr/>
          <a:lstStyle/>
          <a:p>
            <a:r>
              <a:rPr lang="en-GB" dirty="0"/>
              <a:t>4 Column with Subtitles</a:t>
            </a:r>
          </a:p>
        </p:txBody>
      </p:sp>
    </p:spTree>
    <p:extLst>
      <p:ext uri="{BB962C8B-B14F-4D97-AF65-F5344CB8AC3E}">
        <p14:creationId xmlns:p14="http://schemas.microsoft.com/office/powerpoint/2010/main" val="39916532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B48CB3-8757-A86B-8296-6242EC0E0D52}"/>
              </a:ext>
            </a:extLst>
          </p:cNvPr>
          <p:cNvSpPr>
            <a:spLocks noGrp="1"/>
          </p:cNvSpPr>
          <p:nvPr>
            <p:ph type="title"/>
          </p:nvPr>
        </p:nvSpPr>
        <p:spPr>
          <a:xfrm>
            <a:off x="685800" y="303166"/>
            <a:ext cx="8977313" cy="1134949"/>
          </a:xfrm>
        </p:spPr>
        <p:txBody>
          <a:bodyPr>
            <a:normAutofit/>
          </a:bodyPr>
          <a:lstStyle/>
          <a:p>
            <a:r>
              <a:rPr lang="en-GB" dirty="0"/>
              <a:t>Title Only Slide </a:t>
            </a:r>
          </a:p>
        </p:txBody>
      </p:sp>
      <p:sp>
        <p:nvSpPr>
          <p:cNvPr id="3" name="Footer Placeholder 2">
            <a:extLst>
              <a:ext uri="{FF2B5EF4-FFF2-40B4-BE49-F238E27FC236}">
                <a16:creationId xmlns:a16="http://schemas.microsoft.com/office/drawing/2014/main" id="{AF2C1A80-4A2E-92A3-8BC2-ACCCC30E545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8DE1C2A-0A15-5AF9-5216-897806D98F7C}"/>
              </a:ext>
            </a:extLst>
          </p:cNvPr>
          <p:cNvSpPr>
            <a:spLocks noGrp="1"/>
          </p:cNvSpPr>
          <p:nvPr>
            <p:ph type="sldNum" sz="quarter" idx="11"/>
          </p:nvPr>
        </p:nvSpPr>
        <p:spPr/>
        <p:txBody>
          <a:bodyPr/>
          <a:lstStyle/>
          <a:p>
            <a:fld id="{3A74F2AC-1E9A-41D4-8B35-A069FB343260}" type="slidenum">
              <a:rPr lang="en-GB" smtClean="0"/>
              <a:pPr/>
              <a:t>18</a:t>
            </a:fld>
            <a:endParaRPr lang="en-GB"/>
          </a:p>
        </p:txBody>
      </p:sp>
    </p:spTree>
    <p:extLst>
      <p:ext uri="{BB962C8B-B14F-4D97-AF65-F5344CB8AC3E}">
        <p14:creationId xmlns:p14="http://schemas.microsoft.com/office/powerpoint/2010/main" val="36792154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A4DC-159C-6624-3DAE-5D1CC5D5E927}"/>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AAEABD41-F8DA-1186-2155-3D59902FE4F8}"/>
              </a:ext>
            </a:extLst>
          </p:cNvPr>
          <p:cNvSpPr>
            <a:spLocks noGrp="1"/>
          </p:cNvSpPr>
          <p:nvPr>
            <p:ph type="sldNum" sz="quarter" idx="11"/>
          </p:nvPr>
        </p:nvSpPr>
        <p:spPr/>
        <p:txBody>
          <a:bodyPr/>
          <a:lstStyle/>
          <a:p>
            <a:fld id="{3A74F2AC-1E9A-41D4-8B35-A069FB343260}" type="slidenum">
              <a:rPr lang="en-GB" smtClean="0"/>
              <a:pPr/>
              <a:t>19</a:t>
            </a:fld>
            <a:endParaRPr lang="en-GB"/>
          </a:p>
        </p:txBody>
      </p:sp>
    </p:spTree>
    <p:extLst>
      <p:ext uri="{BB962C8B-B14F-4D97-AF65-F5344CB8AC3E}">
        <p14:creationId xmlns:p14="http://schemas.microsoft.com/office/powerpoint/2010/main" val="2492979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2</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550B7A4B-FD6C-F6DC-36A5-868619FD1610}"/>
              </a:ext>
            </a:extLst>
          </p:cNvPr>
          <p:cNvGrpSpPr/>
          <p:nvPr/>
        </p:nvGrpSpPr>
        <p:grpSpPr>
          <a:xfrm>
            <a:off x="964358" y="1736974"/>
            <a:ext cx="9684543" cy="4198962"/>
            <a:chOff x="1253728" y="1736974"/>
            <a:chExt cx="9684543" cy="4198962"/>
          </a:xfrm>
        </p:grpSpPr>
        <p:pic>
          <p:nvPicPr>
            <p:cNvPr id="5" name="Picture 4">
              <a:extLst>
                <a:ext uri="{FF2B5EF4-FFF2-40B4-BE49-F238E27FC236}">
                  <a16:creationId xmlns:a16="http://schemas.microsoft.com/office/drawing/2014/main" id="{FB7D6FA6-8B54-539A-ECD1-0B8DB0264D3B}"/>
                </a:ext>
              </a:extLst>
            </p:cNvPr>
            <p:cNvPicPr>
              <a:picLocks noChangeAspect="1"/>
            </p:cNvPicPr>
            <p:nvPr/>
          </p:nvPicPr>
          <p:blipFill>
            <a:blip r:embed="rId2"/>
            <a:stretch>
              <a:fillRect/>
            </a:stretch>
          </p:blipFill>
          <p:spPr>
            <a:xfrm>
              <a:off x="1253728" y="1736974"/>
              <a:ext cx="9684543" cy="4198962"/>
            </a:xfrm>
            <a:prstGeom prst="rect">
              <a:avLst/>
            </a:prstGeom>
          </p:spPr>
        </p:pic>
        <p:cxnSp>
          <p:nvCxnSpPr>
            <p:cNvPr id="8" name="Straight Connector 7">
              <a:extLst>
                <a:ext uri="{FF2B5EF4-FFF2-40B4-BE49-F238E27FC236}">
                  <a16:creationId xmlns:a16="http://schemas.microsoft.com/office/drawing/2014/main" id="{3DE4F14B-B4FE-46B0-515C-ADDFBA51C381}"/>
                </a:ext>
              </a:extLst>
            </p:cNvPr>
            <p:cNvCxnSpPr>
              <a:cxnSpLocks/>
            </p:cNvCxnSpPr>
            <p:nvPr/>
          </p:nvCxnSpPr>
          <p:spPr>
            <a:xfrm>
              <a:off x="2107165" y="5104435"/>
              <a:ext cx="1156896"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9E08D-7A3A-3822-D930-16497D511857}"/>
                </a:ext>
              </a:extLst>
            </p:cNvPr>
            <p:cNvCxnSpPr>
              <a:cxnSpLocks/>
            </p:cNvCxnSpPr>
            <p:nvPr/>
          </p:nvCxnSpPr>
          <p:spPr>
            <a:xfrm>
              <a:off x="8405722" y="4782273"/>
              <a:ext cx="213881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2C1FE5A-0261-92C4-423A-B0CC76FC1F0D}"/>
                </a:ext>
              </a:extLst>
            </p:cNvPr>
            <p:cNvCxnSpPr>
              <a:cxnSpLocks/>
            </p:cNvCxnSpPr>
            <p:nvPr/>
          </p:nvCxnSpPr>
          <p:spPr>
            <a:xfrm>
              <a:off x="2118740" y="5870346"/>
              <a:ext cx="3807498"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FA2CD0-49D5-9825-1D80-75E5FE23BA52}"/>
                </a:ext>
              </a:extLst>
            </p:cNvPr>
            <p:cNvCxnSpPr>
              <a:cxnSpLocks/>
            </p:cNvCxnSpPr>
            <p:nvPr/>
          </p:nvCxnSpPr>
          <p:spPr>
            <a:xfrm>
              <a:off x="10058400" y="5571334"/>
              <a:ext cx="383893"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799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370389" y="2194414"/>
            <a:ext cx="5529262" cy="2247899"/>
          </a:xfrm>
        </p:spPr>
        <p:txBody>
          <a:bodyPr>
            <a:normAutofit fontScale="92500"/>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20</a:t>
            </a:fld>
            <a:endParaRPr lang="en-GB"/>
          </a:p>
        </p:txBody>
      </p:sp>
    </p:spTree>
    <p:extLst>
      <p:ext uri="{BB962C8B-B14F-4D97-AF65-F5344CB8AC3E}">
        <p14:creationId xmlns:p14="http://schemas.microsoft.com/office/powerpoint/2010/main" val="2131980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21</a:t>
            </a:fld>
            <a:endParaRPr lang="en-GB"/>
          </a:p>
        </p:txBody>
      </p:sp>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133850" y="2194414"/>
            <a:ext cx="5529263" cy="2247899"/>
          </a:xfrm>
        </p:spPr>
        <p:txBody>
          <a:bodyPr/>
          <a:lstStyle/>
          <a:p>
            <a:r>
              <a:rPr lang="en-GB" dirty="0"/>
              <a:t>“Lorem ipsum dolor sit amet, consectetuer adipiscing elit. Maecenas porttitor congue massa. Fusce posuere, magna sed pulvinar ultricies, </a:t>
            </a:r>
            <a:r>
              <a:rPr lang="en-GB" dirty="0" err="1"/>
              <a:t>purus</a:t>
            </a:r>
            <a:r>
              <a:rPr lang="en-GB" dirty="0"/>
              <a:t> </a:t>
            </a:r>
            <a:r>
              <a:rPr lang="en-GB" dirty="0" err="1"/>
              <a:t>lectus</a:t>
            </a:r>
            <a:endParaRPr lang="en-GB" dirty="0"/>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Tree>
    <p:extLst>
      <p:ext uri="{BB962C8B-B14F-4D97-AF65-F5344CB8AC3E}">
        <p14:creationId xmlns:p14="http://schemas.microsoft.com/office/powerpoint/2010/main" val="4285285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a:xfrm>
            <a:off x="685800" y="303166"/>
            <a:ext cx="8977313" cy="1134949"/>
          </a:xfrm>
        </p:spPr>
        <p:txBody>
          <a:bodyPr/>
          <a:lstStyle/>
          <a:p>
            <a:r>
              <a:rPr lang="en-GB" dirty="0"/>
              <a:t>4 Phase Layout</a:t>
            </a:r>
          </a:p>
        </p:txBody>
      </p:sp>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rIns="36000"/>
          <a:lstStyle/>
          <a:p>
            <a:r>
              <a:rPr lang="en-GB" dirty="0"/>
              <a:t>Lorem ipsum </a:t>
            </a:r>
            <a:r>
              <a:rPr lang="en-GB" dirty="0" err="1"/>
              <a:t>dolor</a:t>
            </a:r>
            <a:r>
              <a:rPr lang="en-GB" dirty="0"/>
              <a:t> sit </a:t>
            </a:r>
            <a:r>
              <a:rPr lang="en-GB" dirty="0" err="1"/>
              <a:t>amet</a:t>
            </a:r>
            <a:r>
              <a:rPr lang="en-GB" dirty="0"/>
              <a:t>.</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2"/>
          </p:nvPr>
        </p:nvSpPr>
        <p:spPr/>
        <p:txBody>
          <a:bodyPr rIns="36000"/>
          <a:lstStyle/>
          <a:p>
            <a:r>
              <a:rPr lang="en-GB" dirty="0" err="1"/>
              <a:t>consectetuer</a:t>
            </a:r>
            <a:r>
              <a:rPr lang="en-GB" dirty="0"/>
              <a:t> </a:t>
            </a:r>
            <a:r>
              <a:rPr lang="en-GB" dirty="0" err="1"/>
              <a:t>adipiscing</a:t>
            </a:r>
            <a:r>
              <a:rPr lang="en-GB" dirty="0"/>
              <a:t> </a:t>
            </a:r>
            <a:r>
              <a:rPr lang="en-GB" dirty="0" err="1"/>
              <a:t>elit</a:t>
            </a:r>
            <a:r>
              <a:rPr lang="en-GB" dirty="0"/>
              <a:t>.</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3"/>
          </p:nvPr>
        </p:nvSpPr>
        <p:spPr/>
        <p:txBody>
          <a:bodyPr rIns="36000"/>
          <a:lstStyle/>
          <a:p>
            <a:r>
              <a:rPr lang="en-GB" dirty="0"/>
              <a:t>Maecenas </a:t>
            </a:r>
            <a:r>
              <a:rPr lang="en-GB" dirty="0" err="1"/>
              <a:t>porttitor</a:t>
            </a:r>
            <a:r>
              <a:rPr lang="en-GB" dirty="0"/>
              <a:t> </a:t>
            </a:r>
            <a:br>
              <a:rPr lang="en-GB" dirty="0"/>
            </a:br>
            <a:r>
              <a:rPr lang="en-GB" dirty="0" err="1"/>
              <a:t>congue</a:t>
            </a:r>
            <a:r>
              <a:rPr lang="en-GB" dirty="0"/>
              <a:t> </a:t>
            </a:r>
            <a:r>
              <a:rPr lang="en-GB" dirty="0" err="1"/>
              <a:t>massa</a:t>
            </a:r>
            <a:r>
              <a:rPr lang="en-GB" dirty="0"/>
              <a:t>.</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4"/>
          </p:nvPr>
        </p:nvSpPr>
        <p:spPr/>
        <p:txBody>
          <a:bodyPr rIns="36000">
            <a:normAutofit/>
          </a:bodyPr>
          <a:lstStyle/>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type="body" sz="quarter" idx="15"/>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type="body" sz="quarter" idx="16"/>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type="body" sz="quarter" idx="17"/>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type="body" sz="quarter" idx="18"/>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22</a:t>
            </a:fld>
            <a:endParaRPr lang="en-GB"/>
          </a:p>
        </p:txBody>
      </p:sp>
    </p:spTree>
    <p:extLst>
      <p:ext uri="{BB962C8B-B14F-4D97-AF65-F5344CB8AC3E}">
        <p14:creationId xmlns:p14="http://schemas.microsoft.com/office/powerpoint/2010/main" val="41116420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walking on a sidewalk in front of a building&#10;&#10;Description automatically generated with low confidence">
            <a:extLst>
              <a:ext uri="{FF2B5EF4-FFF2-40B4-BE49-F238E27FC236}">
                <a16:creationId xmlns:a16="http://schemas.microsoft.com/office/drawing/2014/main" id="{84924E72-87C1-10C8-1AC5-C20679331636}"/>
              </a:ext>
            </a:extLst>
          </p:cNvPr>
          <p:cNvPicPr>
            <a:picLocks noGrp="1" noChangeAspect="1"/>
          </p:cNvPicPr>
          <p:nvPr>
            <p:ph type="pic" idx="1"/>
          </p:nvPr>
        </p:nvPicPr>
        <p:blipFill>
          <a:blip r:embed="rId3" cstate="print">
            <a:extLst>
              <a:ext uri="{28A0092B-C50C-407E-A947-70E740481C1C}">
                <a14:useLocalDpi xmlns:a14="http://schemas.microsoft.com/office/drawing/2010/main"/>
              </a:ext>
            </a:extLst>
          </a:blip>
          <a:srcRect l="2" r="2"/>
          <a:stretch>
            <a:fillRect/>
          </a:stretch>
        </p:blipFill>
        <p:spPr/>
      </p:pic>
      <p:sp>
        <p:nvSpPr>
          <p:cNvPr id="10" name="Text Placeholder 9">
            <a:extLst>
              <a:ext uri="{FF2B5EF4-FFF2-40B4-BE49-F238E27FC236}">
                <a16:creationId xmlns:a16="http://schemas.microsoft.com/office/drawing/2014/main" id="{72B9FC90-A6BE-22F7-FC8C-299CF48F9E6B}"/>
              </a:ext>
            </a:extLst>
          </p:cNvPr>
          <p:cNvSpPr>
            <a:spLocks noGrp="1"/>
          </p:cNvSpPr>
          <p:nvPr>
            <p:ph type="body" sz="quarter" idx="14"/>
          </p:nvPr>
        </p:nvSpPr>
        <p:spPr/>
        <p:txBody>
          <a:bodyPr/>
          <a:lstStyle/>
          <a:p>
            <a:endParaRPr lang="en-GB"/>
          </a:p>
        </p:txBody>
      </p:sp>
      <p:sp>
        <p:nvSpPr>
          <p:cNvPr id="9" name="Title 8">
            <a:extLst>
              <a:ext uri="{FF2B5EF4-FFF2-40B4-BE49-F238E27FC236}">
                <a16:creationId xmlns:a16="http://schemas.microsoft.com/office/drawing/2014/main" id="{48DA6C20-B0AA-975D-692D-F6A7DD0EC715}"/>
              </a:ext>
            </a:extLst>
          </p:cNvPr>
          <p:cNvSpPr>
            <a:spLocks noGrp="1"/>
          </p:cNvSpPr>
          <p:nvPr>
            <p:ph type="title"/>
          </p:nvPr>
        </p:nvSpPr>
        <p:spPr/>
        <p:txBody>
          <a:bodyPr/>
          <a:lstStyle/>
          <a:p>
            <a:r>
              <a:rPr lang="en-GB" dirty="0"/>
              <a:t>Image with caption layout</a:t>
            </a:r>
          </a:p>
        </p:txBody>
      </p:sp>
      <p:sp>
        <p:nvSpPr>
          <p:cNvPr id="11" name="Text Placeholder 10">
            <a:extLst>
              <a:ext uri="{FF2B5EF4-FFF2-40B4-BE49-F238E27FC236}">
                <a16:creationId xmlns:a16="http://schemas.microsoft.com/office/drawing/2014/main" id="{D465C0F6-0F1F-8521-B5F1-3A1E299CA10B}"/>
              </a:ext>
            </a:extLst>
          </p:cNvPr>
          <p:cNvSpPr>
            <a:spLocks noGrp="1"/>
          </p:cNvSpPr>
          <p:nvPr>
            <p:ph type="body" sz="half" idx="2"/>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p>
        </p:txBody>
      </p:sp>
      <p:sp>
        <p:nvSpPr>
          <p:cNvPr id="3" name="Footer Placeholder 2">
            <a:extLst>
              <a:ext uri="{FF2B5EF4-FFF2-40B4-BE49-F238E27FC236}">
                <a16:creationId xmlns:a16="http://schemas.microsoft.com/office/drawing/2014/main" id="{026CAD5E-43A6-1097-D997-4EA5B8D7A74F}"/>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2E52D8CE-8BD1-1071-FF48-4002391DB207}"/>
              </a:ext>
            </a:extLst>
          </p:cNvPr>
          <p:cNvSpPr>
            <a:spLocks noGrp="1"/>
          </p:cNvSpPr>
          <p:nvPr>
            <p:ph type="sldNum" sz="quarter" idx="11"/>
          </p:nvPr>
        </p:nvSpPr>
        <p:spPr/>
        <p:txBody>
          <a:bodyPr/>
          <a:lstStyle/>
          <a:p>
            <a:fld id="{3A74F2AC-1E9A-41D4-8B35-A069FB343260}" type="slidenum">
              <a:rPr lang="en-GB" smtClean="0"/>
              <a:pPr/>
              <a:t>23</a:t>
            </a:fld>
            <a:endParaRPr lang="en-GB" dirty="0"/>
          </a:p>
        </p:txBody>
      </p:sp>
      <p:grpSp>
        <p:nvGrpSpPr>
          <p:cNvPr id="7" name="Group 6">
            <a:extLst>
              <a:ext uri="{FF2B5EF4-FFF2-40B4-BE49-F238E27FC236}">
                <a16:creationId xmlns:a16="http://schemas.microsoft.com/office/drawing/2014/main" id="{00B915E5-D95F-3226-7BA4-E1D617F002AB}"/>
              </a:ext>
            </a:extLst>
          </p:cNvPr>
          <p:cNvGrpSpPr/>
          <p:nvPr/>
        </p:nvGrpSpPr>
        <p:grpSpPr>
          <a:xfrm>
            <a:off x="-1518920" y="0"/>
            <a:ext cx="1248590" cy="3575408"/>
            <a:chOff x="-2206171" y="0"/>
            <a:chExt cx="1973942" cy="3361680"/>
          </a:xfrm>
        </p:grpSpPr>
        <p:sp>
          <p:nvSpPr>
            <p:cNvPr id="8" name="Rectangle 7">
              <a:extLst>
                <a:ext uri="{FF2B5EF4-FFF2-40B4-BE49-F238E27FC236}">
                  <a16:creationId xmlns:a16="http://schemas.microsoft.com/office/drawing/2014/main" id="{6A6758F4-3764-9A86-903F-219A1953A624}"/>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8000275F-FFD0-1780-5E3C-015C566F2CD8}"/>
                </a:ext>
              </a:extLst>
            </p:cNvPr>
            <p:cNvSpPr/>
            <p:nvPr/>
          </p:nvSpPr>
          <p:spPr>
            <a:xfrm>
              <a:off x="-2206171" y="275773"/>
              <a:ext cx="1973942" cy="3085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Do not paste any text on to this slide, as this will snap into the footer placeholders at the bottom of the slide. If this happens, delete the text and placeholders at the bottom of the slide then click ‘reset’ under the home tab. </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954790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95BB73-F43B-0CDD-C364-4A530EB7F467}"/>
              </a:ext>
            </a:extLst>
          </p:cNvPr>
          <p:cNvSpPr>
            <a:spLocks noGrp="1"/>
          </p:cNvSpPr>
          <p:nvPr>
            <p:ph type="title"/>
          </p:nvPr>
        </p:nvSpPr>
        <p:spPr>
          <a:xfrm>
            <a:off x="685800" y="303166"/>
            <a:ext cx="8977313" cy="1134949"/>
          </a:xfrm>
        </p:spPr>
        <p:txBody>
          <a:bodyPr/>
          <a:lstStyle/>
          <a:p>
            <a:r>
              <a:rPr lang="en-GB" dirty="0"/>
              <a:t>4 Pictures with Caption</a:t>
            </a:r>
          </a:p>
        </p:txBody>
      </p:sp>
      <p:sp>
        <p:nvSpPr>
          <p:cNvPr id="11" name="Text Placeholder 10">
            <a:extLst>
              <a:ext uri="{FF2B5EF4-FFF2-40B4-BE49-F238E27FC236}">
                <a16:creationId xmlns:a16="http://schemas.microsoft.com/office/drawing/2014/main" id="{42C42942-BF8B-2D2A-F6DA-E01BDB4EB0B4}"/>
              </a:ext>
            </a:extLst>
          </p:cNvPr>
          <p:cNvSpPr>
            <a:spLocks noGrp="1"/>
          </p:cNvSpPr>
          <p:nvPr>
            <p:ph type="body" sz="quarter" idx="27"/>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br>
              <a:rPr lang="en-GB" dirty="0"/>
            </a:br>
            <a:endParaRPr lang="en-GB" dirty="0"/>
          </a:p>
          <a:p>
            <a:r>
              <a:rPr lang="en-GB" dirty="0"/>
              <a:t>Nunc viverra imperdiet enim. Fusce est. Vivamus a </a:t>
            </a:r>
            <a:r>
              <a:rPr lang="en-GB" dirty="0" err="1"/>
              <a:t>tellus</a:t>
            </a:r>
            <a:r>
              <a:rPr lang="en-GB" dirty="0"/>
              <a:t>.</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28"/>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29"/>
          </p:nvPr>
        </p:nvSpPr>
        <p:spPr/>
        <p:txBody>
          <a:bodyPr/>
          <a:lstStyle/>
          <a:p>
            <a:fld id="{3A74F2AC-1E9A-41D4-8B35-A069FB343260}" type="slidenum">
              <a:rPr lang="en-GB" smtClean="0"/>
              <a:pPr/>
              <a:t>24</a:t>
            </a:fld>
            <a:endParaRPr lang="en-GB"/>
          </a:p>
        </p:txBody>
      </p:sp>
      <p:pic>
        <p:nvPicPr>
          <p:cNvPr id="12" name="Picture Placeholder 4" descr="A city next to a body of water&#10;&#10;Description automatically generated with medium confidence">
            <a:extLst>
              <a:ext uri="{FF2B5EF4-FFF2-40B4-BE49-F238E27FC236}">
                <a16:creationId xmlns:a16="http://schemas.microsoft.com/office/drawing/2014/main" id="{95AB4670-CB58-6B33-9DFF-9444BAC30AED}"/>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693738" y="1714500"/>
            <a:ext cx="3440112" cy="1998663"/>
          </a:xfrm>
        </p:spPr>
      </p:pic>
      <p:pic>
        <p:nvPicPr>
          <p:cNvPr id="17" name="Picture Placeholder 20">
            <a:extLst>
              <a:ext uri="{FF2B5EF4-FFF2-40B4-BE49-F238E27FC236}">
                <a16:creationId xmlns:a16="http://schemas.microsoft.com/office/drawing/2014/main" id="{D6926090-5862-62C4-0F54-2AC689C2160E}"/>
              </a:ext>
            </a:extLst>
          </p:cNvPr>
          <p:cNvPicPr>
            <a:picLocks noGrp="1" noChangeAspect="1"/>
          </p:cNvPicPr>
          <p:nvPr>
            <p:ph type="pic" sz="quarter" idx="25"/>
          </p:nvPr>
        </p:nvPicPr>
        <p:blipFill rotWithShape="1">
          <a:blip r:embed="rId3" cstate="screen">
            <a:extLst>
              <a:ext uri="{28A0092B-C50C-407E-A947-70E740481C1C}">
                <a14:useLocalDpi xmlns:a14="http://schemas.microsoft.com/office/drawing/2010/main"/>
              </a:ext>
            </a:extLst>
          </a:blip>
          <a:srcRect l="1634" r="1634"/>
          <a:stretch/>
        </p:blipFill>
        <p:spPr>
          <a:xfrm>
            <a:off x="4379913" y="1714500"/>
            <a:ext cx="3440112" cy="1998663"/>
          </a:xfrm>
        </p:spPr>
      </p:pic>
      <p:pic>
        <p:nvPicPr>
          <p:cNvPr id="18" name="Picture Placeholder 18">
            <a:extLst>
              <a:ext uri="{FF2B5EF4-FFF2-40B4-BE49-F238E27FC236}">
                <a16:creationId xmlns:a16="http://schemas.microsoft.com/office/drawing/2014/main" id="{78F4D73F-A0B0-2464-2D6E-B2B139A44930}"/>
              </a:ext>
            </a:extLst>
          </p:cNvPr>
          <p:cNvPicPr>
            <a:picLocks noGrp="1" noChangeAspect="1"/>
          </p:cNvPicPr>
          <p:nvPr>
            <p:ph type="pic" sz="quarter" idx="24"/>
          </p:nvPr>
        </p:nvPicPr>
        <p:blipFill rotWithShape="1">
          <a:blip r:embed="rId4" cstate="print">
            <a:extLst>
              <a:ext uri="{28A0092B-C50C-407E-A947-70E740481C1C}">
                <a14:useLocalDpi xmlns:a14="http://schemas.microsoft.com/office/drawing/2010/main"/>
              </a:ext>
            </a:extLst>
          </a:blip>
          <a:srcRect/>
          <a:stretch/>
        </p:blipFill>
        <p:spPr>
          <a:xfrm>
            <a:off x="684213" y="3944938"/>
            <a:ext cx="3440112" cy="1998662"/>
          </a:xfrm>
        </p:spPr>
      </p:pic>
      <p:pic>
        <p:nvPicPr>
          <p:cNvPr id="19" name="Picture Placeholder 16">
            <a:extLst>
              <a:ext uri="{FF2B5EF4-FFF2-40B4-BE49-F238E27FC236}">
                <a16:creationId xmlns:a16="http://schemas.microsoft.com/office/drawing/2014/main" id="{14F74223-335B-D72B-3C98-1927781AB4DD}"/>
              </a:ext>
            </a:extLst>
          </p:cNvPr>
          <p:cNvPicPr>
            <a:picLocks noGrp="1" noChangeAspect="1"/>
          </p:cNvPicPr>
          <p:nvPr>
            <p:ph type="pic" sz="quarter" idx="26"/>
          </p:nvPr>
        </p:nvPicPr>
        <p:blipFill rotWithShape="1">
          <a:blip r:embed="rId5" cstate="print">
            <a:extLst>
              <a:ext uri="{28A0092B-C50C-407E-A947-70E740481C1C}">
                <a14:useLocalDpi xmlns:a14="http://schemas.microsoft.com/office/drawing/2010/main"/>
              </a:ext>
            </a:extLst>
          </a:blip>
          <a:srcRect/>
          <a:stretch/>
        </p:blipFill>
        <p:spPr>
          <a:xfrm>
            <a:off x="4370388" y="3944938"/>
            <a:ext cx="3440112" cy="1998662"/>
          </a:xfrm>
        </p:spPr>
      </p:pic>
      <p:grpSp>
        <p:nvGrpSpPr>
          <p:cNvPr id="2" name="Group 1">
            <a:extLst>
              <a:ext uri="{FF2B5EF4-FFF2-40B4-BE49-F238E27FC236}">
                <a16:creationId xmlns:a16="http://schemas.microsoft.com/office/drawing/2014/main" id="{904CB5BB-8478-3438-849F-ED3FE2A0B165}"/>
              </a:ext>
            </a:extLst>
          </p:cNvPr>
          <p:cNvGrpSpPr/>
          <p:nvPr/>
        </p:nvGrpSpPr>
        <p:grpSpPr>
          <a:xfrm>
            <a:off x="-1518920" y="0"/>
            <a:ext cx="1248590" cy="1722662"/>
            <a:chOff x="-2206171" y="0"/>
            <a:chExt cx="1973942" cy="1619686"/>
          </a:xfrm>
        </p:grpSpPr>
        <p:sp>
          <p:nvSpPr>
            <p:cNvPr id="3" name="Rectangle 2">
              <a:extLst>
                <a:ext uri="{FF2B5EF4-FFF2-40B4-BE49-F238E27FC236}">
                  <a16:creationId xmlns:a16="http://schemas.microsoft.com/office/drawing/2014/main" id="{1E2108B6-1BA6-2889-033D-BED9568E47A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4" name="Rectangle 3">
              <a:extLst>
                <a:ext uri="{FF2B5EF4-FFF2-40B4-BE49-F238E27FC236}">
                  <a16:creationId xmlns:a16="http://schemas.microsoft.com/office/drawing/2014/main" id="{D0E3BCBE-0F0A-9A6F-AC03-E0C142B8FF7C}"/>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2562973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A13BD0FB-C6A1-B5F1-F950-151BF9451120}"/>
              </a:ext>
            </a:extLst>
          </p:cNvPr>
          <p:cNvSpPr>
            <a:spLocks noGrp="1"/>
          </p:cNvSpPr>
          <p:nvPr>
            <p:ph type="body" sz="quarter" idx="25"/>
          </p:nvPr>
        </p:nvSpPr>
        <p:spPr/>
        <p:txBody>
          <a:bodyPr/>
          <a:lstStyle/>
          <a:p>
            <a:r>
              <a:rPr lang="en-GB" dirty="0"/>
              <a:t>Lorem ipsum dolor sit amet, consectetuer adipiscing elit. Maecenas porttitor congue massa. </a:t>
            </a:r>
          </a:p>
        </p:txBody>
      </p:sp>
      <p:sp>
        <p:nvSpPr>
          <p:cNvPr id="28" name="Title 27">
            <a:extLst>
              <a:ext uri="{FF2B5EF4-FFF2-40B4-BE49-F238E27FC236}">
                <a16:creationId xmlns:a16="http://schemas.microsoft.com/office/drawing/2014/main" id="{59057EF3-6433-CE96-7FB9-8903C0B66F8F}"/>
              </a:ext>
            </a:extLst>
          </p:cNvPr>
          <p:cNvSpPr>
            <a:spLocks noGrp="1"/>
          </p:cNvSpPr>
          <p:nvPr>
            <p:ph type="title"/>
          </p:nvPr>
        </p:nvSpPr>
        <p:spPr>
          <a:xfrm>
            <a:off x="685800" y="303166"/>
            <a:ext cx="8977313" cy="1134949"/>
          </a:xfrm>
        </p:spPr>
        <p:txBody>
          <a:bodyPr/>
          <a:lstStyle/>
          <a:p>
            <a:r>
              <a:rPr lang="en-GB"/>
              <a:t>4 Pictures / 4 Text Panels</a:t>
            </a:r>
            <a:endParaRPr lang="en-GB" dirty="0"/>
          </a:p>
        </p:txBody>
      </p:sp>
      <p:pic>
        <p:nvPicPr>
          <p:cNvPr id="3" name="Picture Placeholder 2">
            <a:extLst>
              <a:ext uri="{FF2B5EF4-FFF2-40B4-BE49-F238E27FC236}">
                <a16:creationId xmlns:a16="http://schemas.microsoft.com/office/drawing/2014/main" id="{8161E9CC-C6BC-522D-319A-A8DE9229D320}"/>
              </a:ext>
            </a:extLst>
          </p:cNvPr>
          <p:cNvPicPr>
            <a:picLocks noGrp="1" noChangeAspect="1"/>
          </p:cNvPicPr>
          <p:nvPr>
            <p:ph type="pic" sz="quarter" idx="12"/>
          </p:nvPr>
        </p:nvPicPr>
        <p:blipFill>
          <a:blip r:embed="rId2" cstate="print">
            <a:extLst>
              <a:ext uri="{28A0092B-C50C-407E-A947-70E740481C1C}">
                <a14:useLocalDpi xmlns:a14="http://schemas.microsoft.com/office/drawing/2010/main"/>
              </a:ext>
            </a:extLst>
          </a:blip>
          <a:srcRect/>
          <a:stretch/>
        </p:blipFill>
        <p:spPr/>
      </p:pic>
      <p:sp>
        <p:nvSpPr>
          <p:cNvPr id="29" name="Text Placeholder 28">
            <a:extLst>
              <a:ext uri="{FF2B5EF4-FFF2-40B4-BE49-F238E27FC236}">
                <a16:creationId xmlns:a16="http://schemas.microsoft.com/office/drawing/2014/main" id="{7EDD1422-A1B9-389F-AFB2-3BB1DFC7BEBB}"/>
              </a:ext>
            </a:extLst>
          </p:cNvPr>
          <p:cNvSpPr>
            <a:spLocks noGrp="1"/>
          </p:cNvSpPr>
          <p:nvPr>
            <p:ph type="body" sz="quarter"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pic>
        <p:nvPicPr>
          <p:cNvPr id="5" name="Picture Placeholder 4">
            <a:extLst>
              <a:ext uri="{FF2B5EF4-FFF2-40B4-BE49-F238E27FC236}">
                <a16:creationId xmlns:a16="http://schemas.microsoft.com/office/drawing/2014/main" id="{B72E04F2-EA1B-6070-74F3-F14CAAB4CD75}"/>
              </a:ext>
            </a:extLst>
          </p:cNvPr>
          <p:cNvPicPr>
            <a:picLocks noGrp="1" noChangeAspect="1"/>
          </p:cNvPicPr>
          <p:nvPr>
            <p:ph type="pic" sz="quarter" idx="24"/>
          </p:nvPr>
        </p:nvPicPr>
        <p:blipFill>
          <a:blip r:embed="rId3"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879B0042-EB09-09E9-8CD2-B38126E2148F}"/>
              </a:ext>
            </a:extLst>
          </p:cNvPr>
          <p:cNvPicPr>
            <a:picLocks noGrp="1" noChangeAspect="1"/>
          </p:cNvPicPr>
          <p:nvPr>
            <p:ph type="pic" sz="quarter" idx="26"/>
          </p:nvPr>
        </p:nvPicPr>
        <p:blipFill>
          <a:blip r:embed="rId4"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37B43357-071E-8A49-6268-5E0FC07D7F15}"/>
              </a:ext>
            </a:extLst>
          </p:cNvPr>
          <p:cNvSpPr>
            <a:spLocks noGrp="1"/>
          </p:cNvSpPr>
          <p:nvPr>
            <p:ph type="body" sz="quarter" idx="27"/>
          </p:nvPr>
        </p:nvSpPr>
        <p:spPr/>
        <p:txBody>
          <a:bodyPr/>
          <a:lstStyle/>
          <a:p>
            <a:r>
              <a:rPr lang="en-GB"/>
              <a:t>Lorem ipsum dolor sit amet, consectetuer adipiscing elit. Maecenas porttitor congue massa. </a:t>
            </a:r>
            <a:endParaRPr lang="en-GB" dirty="0"/>
          </a:p>
        </p:txBody>
      </p:sp>
      <p:pic>
        <p:nvPicPr>
          <p:cNvPr id="39" name="Picture Placeholder 38" descr="A person reading a newspaper&#10;&#10;Description automatically generated">
            <a:extLst>
              <a:ext uri="{FF2B5EF4-FFF2-40B4-BE49-F238E27FC236}">
                <a16:creationId xmlns:a16="http://schemas.microsoft.com/office/drawing/2014/main" id="{E5E33D7C-B4FC-CC86-F297-BCE766D23737}"/>
              </a:ext>
            </a:extLst>
          </p:cNvPr>
          <p:cNvPicPr>
            <a:picLocks noGrp="1" noChangeAspect="1"/>
          </p:cNvPicPr>
          <p:nvPr>
            <p:ph type="pic" sz="quarter" idx="28"/>
          </p:nvPr>
        </p:nvPicPr>
        <p:blipFill>
          <a:blip r:embed="rId5" cstate="print">
            <a:extLst>
              <a:ext uri="{28A0092B-C50C-407E-A947-70E740481C1C}">
                <a14:useLocalDpi xmlns:a14="http://schemas.microsoft.com/office/drawing/2010/main"/>
              </a:ext>
            </a:extLst>
          </a:blip>
          <a:srcRect/>
          <a:stretch>
            <a:fillRect/>
          </a:stretch>
        </p:blipFill>
        <p:spPr/>
      </p:pic>
      <p:sp>
        <p:nvSpPr>
          <p:cNvPr id="33" name="Text Placeholder 32">
            <a:extLst>
              <a:ext uri="{FF2B5EF4-FFF2-40B4-BE49-F238E27FC236}">
                <a16:creationId xmlns:a16="http://schemas.microsoft.com/office/drawing/2014/main" id="{29083882-20CC-CA79-DD1A-D49C2A53A74F}"/>
              </a:ext>
            </a:extLst>
          </p:cNvPr>
          <p:cNvSpPr>
            <a:spLocks noGrp="1"/>
          </p:cNvSpPr>
          <p:nvPr>
            <p:ph type="body" sz="quarter" idx="29"/>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30"/>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31"/>
          </p:nvPr>
        </p:nvSpPr>
        <p:spPr/>
        <p:txBody>
          <a:bodyPr/>
          <a:lstStyle/>
          <a:p>
            <a:fld id="{3A74F2AC-1E9A-41D4-8B35-A069FB343260}" type="slidenum">
              <a:rPr lang="en-GB" smtClean="0"/>
              <a:pPr/>
              <a:t>25</a:t>
            </a:fld>
            <a:endParaRPr lang="en-GB"/>
          </a:p>
        </p:txBody>
      </p:sp>
      <p:grpSp>
        <p:nvGrpSpPr>
          <p:cNvPr id="2" name="Group 1">
            <a:extLst>
              <a:ext uri="{FF2B5EF4-FFF2-40B4-BE49-F238E27FC236}">
                <a16:creationId xmlns:a16="http://schemas.microsoft.com/office/drawing/2014/main" id="{6CEB1943-0438-EBCA-DF7B-935FFDFB4527}"/>
              </a:ext>
            </a:extLst>
          </p:cNvPr>
          <p:cNvGrpSpPr/>
          <p:nvPr/>
        </p:nvGrpSpPr>
        <p:grpSpPr>
          <a:xfrm>
            <a:off x="-1518920" y="0"/>
            <a:ext cx="1248590" cy="1722662"/>
            <a:chOff x="-2206171" y="0"/>
            <a:chExt cx="1973942" cy="1619686"/>
          </a:xfrm>
        </p:grpSpPr>
        <p:sp>
          <p:nvSpPr>
            <p:cNvPr id="4" name="Rectangle 3">
              <a:extLst>
                <a:ext uri="{FF2B5EF4-FFF2-40B4-BE49-F238E27FC236}">
                  <a16:creationId xmlns:a16="http://schemas.microsoft.com/office/drawing/2014/main" id="{ADFF74F2-AE46-B578-D29E-3C3F6DA9F45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6" name="Rectangle 5">
              <a:extLst>
                <a:ext uri="{FF2B5EF4-FFF2-40B4-BE49-F238E27FC236}">
                  <a16:creationId xmlns:a16="http://schemas.microsoft.com/office/drawing/2014/main" id="{908272D8-ECEE-A051-BFFC-A60890B3689F}"/>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1769599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a:extLst>
              <a:ext uri="{FF2B5EF4-FFF2-40B4-BE49-F238E27FC236}">
                <a16:creationId xmlns:a16="http://schemas.microsoft.com/office/drawing/2014/main" id="{AD144782-5700-FA4D-C82E-0F0F60811B94}"/>
              </a:ext>
            </a:extLst>
          </p:cNvPr>
          <p:cNvGraphicFramePr>
            <a:graphicFrameLocks noGrp="1"/>
          </p:cNvGraphicFramePr>
          <p:nvPr>
            <p:ph sz="quarter" idx="13"/>
            <p:custDataLst>
              <p:tags r:id="rId1"/>
            </p:custData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65E41E9D-8E8B-94A1-4394-3EF6323E28A2}"/>
              </a:ext>
            </a:extLst>
          </p:cNvPr>
          <p:cNvSpPr>
            <a:spLocks noGrp="1"/>
          </p:cNvSpPr>
          <p:nvPr>
            <p:ph type="title"/>
          </p:nvPr>
        </p:nvSpPr>
        <p:spPr>
          <a:xfrm>
            <a:off x="685800" y="303166"/>
            <a:ext cx="8977313" cy="1134949"/>
          </a:xfrm>
        </p:spPr>
        <p:txBody>
          <a:bodyPr/>
          <a:lstStyle/>
          <a:p>
            <a:r>
              <a:rPr lang="en-GB" dirty="0"/>
              <a:t>Line Graph</a:t>
            </a:r>
          </a:p>
        </p:txBody>
      </p:sp>
      <p:sp>
        <p:nvSpPr>
          <p:cNvPr id="3" name="Footer Placeholder 2">
            <a:extLst>
              <a:ext uri="{FF2B5EF4-FFF2-40B4-BE49-F238E27FC236}">
                <a16:creationId xmlns:a16="http://schemas.microsoft.com/office/drawing/2014/main" id="{3589B67D-63AA-253C-8D74-6EA6DD84A204}"/>
              </a:ext>
            </a:extLst>
          </p:cNvPr>
          <p:cNvSpPr>
            <a:spLocks noGrp="1"/>
          </p:cNvSpPr>
          <p:nvPr>
            <p:ph type="ftr" sz="quarter" idx="28"/>
          </p:nvPr>
        </p:nvSpPr>
        <p:spPr/>
        <p:txBody>
          <a:bodyPr/>
          <a:lstStyle/>
          <a:p>
            <a:endParaRPr lang="en-GB" dirty="0"/>
          </a:p>
        </p:txBody>
      </p:sp>
      <p:sp>
        <p:nvSpPr>
          <p:cNvPr id="4" name="Slide Number Placeholder 3">
            <a:extLst>
              <a:ext uri="{FF2B5EF4-FFF2-40B4-BE49-F238E27FC236}">
                <a16:creationId xmlns:a16="http://schemas.microsoft.com/office/drawing/2014/main" id="{D09B2998-4438-9527-6D69-AC83221F44D9}"/>
              </a:ext>
            </a:extLst>
          </p:cNvPr>
          <p:cNvSpPr>
            <a:spLocks noGrp="1"/>
          </p:cNvSpPr>
          <p:nvPr>
            <p:ph type="sldNum" sz="quarter" idx="29"/>
          </p:nvPr>
        </p:nvSpPr>
        <p:spPr/>
        <p:txBody>
          <a:bodyPr/>
          <a:lstStyle/>
          <a:p>
            <a:fld id="{3A74F2AC-1E9A-41D4-8B35-A069FB343260}" type="slidenum">
              <a:rPr lang="en-GB" smtClean="0"/>
              <a:pPr/>
              <a:t>26</a:t>
            </a:fld>
            <a:endParaRPr lang="en-GB"/>
          </a:p>
        </p:txBody>
      </p:sp>
      <p:graphicFrame>
        <p:nvGraphicFramePr>
          <p:cNvPr id="15" name="Table 14">
            <a:extLst>
              <a:ext uri="{FF2B5EF4-FFF2-40B4-BE49-F238E27FC236}">
                <a16:creationId xmlns:a16="http://schemas.microsoft.com/office/drawing/2014/main" id="{5666364A-8A39-66B9-45A0-B2ED48A21C3E}"/>
              </a:ext>
            </a:extLst>
          </p:cNvPr>
          <p:cNvGraphicFramePr>
            <a:graphicFrameLocks noGrp="1"/>
          </p:cNvGraphicFramePr>
          <p:nvPr>
            <p:extLst>
              <p:ext uri="{D42A27DB-BD31-4B8C-83A1-F6EECF244321}">
                <p14:modId xmlns:p14="http://schemas.microsoft.com/office/powerpoint/2010/main" val="369479057"/>
              </p:ext>
            </p:extLst>
          </p:nvPr>
        </p:nvGraphicFramePr>
        <p:xfrm>
          <a:off x="8297120" y="18920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8" name="Table 17">
            <a:extLst>
              <a:ext uri="{FF2B5EF4-FFF2-40B4-BE49-F238E27FC236}">
                <a16:creationId xmlns:a16="http://schemas.microsoft.com/office/drawing/2014/main" id="{AA8C2145-D7FF-F5C7-9A05-1F1F9F28EBBE}"/>
              </a:ext>
            </a:extLst>
          </p:cNvPr>
          <p:cNvGraphicFramePr>
            <a:graphicFrameLocks noGrp="1"/>
          </p:cNvGraphicFramePr>
          <p:nvPr>
            <p:extLst>
              <p:ext uri="{D42A27DB-BD31-4B8C-83A1-F6EECF244321}">
                <p14:modId xmlns:p14="http://schemas.microsoft.com/office/powerpoint/2010/main" val="672035593"/>
              </p:ext>
            </p:extLst>
          </p:nvPr>
        </p:nvGraphicFramePr>
        <p:xfrm>
          <a:off x="8297120" y="3337807"/>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9" name="Table 18">
            <a:extLst>
              <a:ext uri="{FF2B5EF4-FFF2-40B4-BE49-F238E27FC236}">
                <a16:creationId xmlns:a16="http://schemas.microsoft.com/office/drawing/2014/main" id="{B7FBB6CF-63D1-6D79-5E2F-6A91FFB9E72E}"/>
              </a:ext>
            </a:extLst>
          </p:cNvPr>
          <p:cNvGraphicFramePr>
            <a:graphicFrameLocks noGrp="1"/>
          </p:cNvGraphicFramePr>
          <p:nvPr>
            <p:extLst>
              <p:ext uri="{D42A27DB-BD31-4B8C-83A1-F6EECF244321}">
                <p14:modId xmlns:p14="http://schemas.microsoft.com/office/powerpoint/2010/main" val="4199542289"/>
              </p:ext>
            </p:extLst>
          </p:nvPr>
        </p:nvGraphicFramePr>
        <p:xfrm>
          <a:off x="8297120" y="47876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10093679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dirty="0"/>
              <a:t>Useful Assets. </a:t>
            </a:r>
            <a:br>
              <a:rPr lang="en-GB" dirty="0"/>
            </a:br>
            <a:endParaRPr lang="en-GB" dirty="0"/>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dirty="0"/>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27</a:t>
            </a:fld>
            <a:endParaRPr lang="en-GB"/>
          </a:p>
        </p:txBody>
      </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dirty="0"/>
              <a:t>These assets can be copy and pasted in to your presentations.</a:t>
            </a:r>
            <a:endParaRPr lang="en-GB" dirty="0"/>
          </a:p>
        </p:txBody>
      </p:sp>
      <p:graphicFrame>
        <p:nvGraphicFramePr>
          <p:cNvPr id="4" name="Table 14">
            <a:extLst>
              <a:ext uri="{FF2B5EF4-FFF2-40B4-BE49-F238E27FC236}">
                <a16:creationId xmlns:a16="http://schemas.microsoft.com/office/drawing/2014/main" id="{1FFEE008-2891-4B44-6868-C8183666C6FB}"/>
              </a:ext>
            </a:extLst>
          </p:cNvPr>
          <p:cNvGraphicFramePr>
            <a:graphicFrameLocks noGrp="1"/>
          </p:cNvGraphicFramePr>
          <p:nvPr>
            <p:extLst>
              <p:ext uri="{D42A27DB-BD31-4B8C-83A1-F6EECF244321}">
                <p14:modId xmlns:p14="http://schemas.microsoft.com/office/powerpoint/2010/main" val="2494974305"/>
              </p:ext>
            </p:extLst>
          </p:nvPr>
        </p:nvGraphicFramePr>
        <p:xfrm>
          <a:off x="4413854" y="1825588"/>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8" name="Table 14">
            <a:extLst>
              <a:ext uri="{FF2B5EF4-FFF2-40B4-BE49-F238E27FC236}">
                <a16:creationId xmlns:a16="http://schemas.microsoft.com/office/drawing/2014/main" id="{A590BC51-81CE-17B5-5618-1C5EE6CE7BAE}"/>
              </a:ext>
            </a:extLst>
          </p:cNvPr>
          <p:cNvGraphicFramePr>
            <a:graphicFrameLocks noGrp="1"/>
          </p:cNvGraphicFramePr>
          <p:nvPr>
            <p:extLst>
              <p:ext uri="{D42A27DB-BD31-4B8C-83A1-F6EECF244321}">
                <p14:modId xmlns:p14="http://schemas.microsoft.com/office/powerpoint/2010/main" val="3927770428"/>
              </p:ext>
            </p:extLst>
          </p:nvPr>
        </p:nvGraphicFramePr>
        <p:xfrm>
          <a:off x="682547" y="182558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0" name="Table 14">
            <a:extLst>
              <a:ext uri="{FF2B5EF4-FFF2-40B4-BE49-F238E27FC236}">
                <a16:creationId xmlns:a16="http://schemas.microsoft.com/office/drawing/2014/main" id="{7D4C9010-214F-D241-C8AE-22C1556FD577}"/>
              </a:ext>
            </a:extLst>
          </p:cNvPr>
          <p:cNvGraphicFramePr>
            <a:graphicFrameLocks noGrp="1"/>
          </p:cNvGraphicFramePr>
          <p:nvPr>
            <p:extLst>
              <p:ext uri="{D42A27DB-BD31-4B8C-83A1-F6EECF244321}">
                <p14:modId xmlns:p14="http://schemas.microsoft.com/office/powerpoint/2010/main" val="3158258220"/>
              </p:ext>
            </p:extLst>
          </p:nvPr>
        </p:nvGraphicFramePr>
        <p:xfrm>
          <a:off x="8308395" y="2021381"/>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2" name="Table 14">
            <a:extLst>
              <a:ext uri="{FF2B5EF4-FFF2-40B4-BE49-F238E27FC236}">
                <a16:creationId xmlns:a16="http://schemas.microsoft.com/office/drawing/2014/main" id="{8E9AF754-F108-5200-41BA-C917E554DE4D}"/>
              </a:ext>
            </a:extLst>
          </p:cNvPr>
          <p:cNvGraphicFramePr>
            <a:graphicFrameLocks noGrp="1"/>
          </p:cNvGraphicFramePr>
          <p:nvPr>
            <p:extLst>
              <p:ext uri="{D42A27DB-BD31-4B8C-83A1-F6EECF244321}">
                <p14:modId xmlns:p14="http://schemas.microsoft.com/office/powerpoint/2010/main" val="576864501"/>
              </p:ext>
            </p:extLst>
          </p:nvPr>
        </p:nvGraphicFramePr>
        <p:xfrm>
          <a:off x="4413854" y="3181342"/>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3" name="Table 14">
            <a:extLst>
              <a:ext uri="{FF2B5EF4-FFF2-40B4-BE49-F238E27FC236}">
                <a16:creationId xmlns:a16="http://schemas.microsoft.com/office/drawing/2014/main" id="{376CB71B-50A5-3C61-2CA5-E57FE0F8B383}"/>
              </a:ext>
            </a:extLst>
          </p:cNvPr>
          <p:cNvGraphicFramePr>
            <a:graphicFrameLocks noGrp="1"/>
          </p:cNvGraphicFramePr>
          <p:nvPr>
            <p:extLst>
              <p:ext uri="{D42A27DB-BD31-4B8C-83A1-F6EECF244321}">
                <p14:modId xmlns:p14="http://schemas.microsoft.com/office/powerpoint/2010/main" val="1934616946"/>
              </p:ext>
            </p:extLst>
          </p:nvPr>
        </p:nvGraphicFramePr>
        <p:xfrm>
          <a:off x="682547" y="316841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4" name="Table 14">
            <a:extLst>
              <a:ext uri="{FF2B5EF4-FFF2-40B4-BE49-F238E27FC236}">
                <a16:creationId xmlns:a16="http://schemas.microsoft.com/office/drawing/2014/main" id="{CFBF0AED-6531-F8C2-539C-33582E19597D}"/>
              </a:ext>
            </a:extLst>
          </p:cNvPr>
          <p:cNvGraphicFramePr>
            <a:graphicFrameLocks noGrp="1"/>
          </p:cNvGraphicFramePr>
          <p:nvPr>
            <p:extLst>
              <p:ext uri="{D42A27DB-BD31-4B8C-83A1-F6EECF244321}">
                <p14:modId xmlns:p14="http://schemas.microsoft.com/office/powerpoint/2010/main" val="774969822"/>
              </p:ext>
            </p:extLst>
          </p:nvPr>
        </p:nvGraphicFramePr>
        <p:xfrm>
          <a:off x="8308395" y="3377135"/>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5" name="Table 14">
            <a:extLst>
              <a:ext uri="{FF2B5EF4-FFF2-40B4-BE49-F238E27FC236}">
                <a16:creationId xmlns:a16="http://schemas.microsoft.com/office/drawing/2014/main" id="{A8465948-FD69-939B-BAEC-3CF7CC33DB74}"/>
              </a:ext>
            </a:extLst>
          </p:cNvPr>
          <p:cNvGraphicFramePr>
            <a:graphicFrameLocks noGrp="1"/>
          </p:cNvGraphicFramePr>
          <p:nvPr>
            <p:extLst>
              <p:ext uri="{D42A27DB-BD31-4B8C-83A1-F6EECF244321}">
                <p14:modId xmlns:p14="http://schemas.microsoft.com/office/powerpoint/2010/main" val="3172987820"/>
              </p:ext>
            </p:extLst>
          </p:nvPr>
        </p:nvGraphicFramePr>
        <p:xfrm>
          <a:off x="4413854" y="4579110"/>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6" name="Table 14">
            <a:extLst>
              <a:ext uri="{FF2B5EF4-FFF2-40B4-BE49-F238E27FC236}">
                <a16:creationId xmlns:a16="http://schemas.microsoft.com/office/drawing/2014/main" id="{A8E35CD2-6136-D642-E29A-5C410BC97BFD}"/>
              </a:ext>
            </a:extLst>
          </p:cNvPr>
          <p:cNvGraphicFramePr>
            <a:graphicFrameLocks noGrp="1"/>
          </p:cNvGraphicFramePr>
          <p:nvPr>
            <p:extLst>
              <p:ext uri="{D42A27DB-BD31-4B8C-83A1-F6EECF244321}">
                <p14:modId xmlns:p14="http://schemas.microsoft.com/office/powerpoint/2010/main" val="2855789718"/>
              </p:ext>
            </p:extLst>
          </p:nvPr>
        </p:nvGraphicFramePr>
        <p:xfrm>
          <a:off x="682548" y="4511247"/>
          <a:ext cx="3194374" cy="1377553"/>
        </p:xfrm>
        <a:graphic>
          <a:graphicData uri="http://schemas.openxmlformats.org/drawingml/2006/table">
            <a:tbl>
              <a:tblPr bandRow="1">
                <a:tableStyleId>{5C22544A-7EE6-4342-B048-85BDC9FD1C3A}</a:tableStyleId>
              </a:tblPr>
              <a:tblGrid>
                <a:gridCol w="3194374">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7" name="Table 14">
            <a:extLst>
              <a:ext uri="{FF2B5EF4-FFF2-40B4-BE49-F238E27FC236}">
                <a16:creationId xmlns:a16="http://schemas.microsoft.com/office/drawing/2014/main" id="{B1AF3628-3A0C-19F4-93EA-CE7A4E6E0008}"/>
              </a:ext>
            </a:extLst>
          </p:cNvPr>
          <p:cNvGraphicFramePr>
            <a:graphicFrameLocks noGrp="1"/>
          </p:cNvGraphicFramePr>
          <p:nvPr>
            <p:extLst>
              <p:ext uri="{D42A27DB-BD31-4B8C-83A1-F6EECF244321}">
                <p14:modId xmlns:p14="http://schemas.microsoft.com/office/powerpoint/2010/main" val="2436837353"/>
              </p:ext>
            </p:extLst>
          </p:nvPr>
        </p:nvGraphicFramePr>
        <p:xfrm>
          <a:off x="8308395" y="4719963"/>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4164930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5657D7E2-56C3-3775-2B02-51DAE4C7F902}"/>
              </a:ext>
            </a:extLst>
          </p:cNvPr>
          <p:cNvGrpSpPr/>
          <p:nvPr/>
        </p:nvGrpSpPr>
        <p:grpSpPr>
          <a:xfrm>
            <a:off x="9515276" y="5225122"/>
            <a:ext cx="609854" cy="590078"/>
            <a:chOff x="9525883" y="5225199"/>
            <a:chExt cx="609854" cy="590078"/>
          </a:xfrm>
        </p:grpSpPr>
        <p:grpSp>
          <p:nvGrpSpPr>
            <p:cNvPr id="201" name="Graphic 5">
              <a:extLst>
                <a:ext uri="{FF2B5EF4-FFF2-40B4-BE49-F238E27FC236}">
                  <a16:creationId xmlns:a16="http://schemas.microsoft.com/office/drawing/2014/main" id="{0934A290-33AC-D36E-2384-94373DE4E181}"/>
                </a:ext>
              </a:extLst>
            </p:cNvPr>
            <p:cNvGrpSpPr/>
            <p:nvPr/>
          </p:nvGrpSpPr>
          <p:grpSpPr>
            <a:xfrm>
              <a:off x="9547649" y="5261194"/>
              <a:ext cx="579056" cy="554083"/>
              <a:chOff x="9547649" y="5261194"/>
              <a:chExt cx="579056" cy="554083"/>
            </a:xfrm>
            <a:solidFill>
              <a:srgbClr val="000000"/>
            </a:solidFill>
          </p:grpSpPr>
          <p:sp>
            <p:nvSpPr>
              <p:cNvPr id="207" name="Freeform: Shape 206">
                <a:extLst>
                  <a:ext uri="{FF2B5EF4-FFF2-40B4-BE49-F238E27FC236}">
                    <a16:creationId xmlns:a16="http://schemas.microsoft.com/office/drawing/2014/main" id="{C92A45CB-7025-83A1-0AF3-112DE097CCD2}"/>
                  </a:ext>
                </a:extLst>
              </p:cNvPr>
              <p:cNvSpPr/>
              <p:nvPr/>
            </p:nvSpPr>
            <p:spPr>
              <a:xfrm>
                <a:off x="9883936" y="5262168"/>
                <a:ext cx="193276" cy="152157"/>
              </a:xfrm>
              <a:custGeom>
                <a:avLst/>
                <a:gdLst>
                  <a:gd name="connsiteX0" fmla="*/ 593 w 193276"/>
                  <a:gd name="connsiteY0" fmla="*/ 932 h 152157"/>
                  <a:gd name="connsiteX1" fmla="*/ 0 w 193276"/>
                  <a:gd name="connsiteY1" fmla="*/ 8554 h 152157"/>
                  <a:gd name="connsiteX2" fmla="*/ 185400 w 193276"/>
                  <a:gd name="connsiteY2" fmla="*/ 152157 h 152157"/>
                  <a:gd name="connsiteX3" fmla="*/ 193277 w 193276"/>
                  <a:gd name="connsiteY3" fmla="*/ 148939 h 152157"/>
                  <a:gd name="connsiteX4" fmla="*/ 551 w 193276"/>
                  <a:gd name="connsiteY4" fmla="*/ 0 h 152157"/>
                  <a:gd name="connsiteX5" fmla="*/ 593 w 193276"/>
                  <a:gd name="connsiteY5" fmla="*/ 932 h 15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76" h="152157">
                    <a:moveTo>
                      <a:pt x="593" y="932"/>
                    </a:moveTo>
                    <a:cubicBezTo>
                      <a:pt x="593" y="3515"/>
                      <a:pt x="339" y="6056"/>
                      <a:pt x="0" y="8554"/>
                    </a:cubicBezTo>
                    <a:cubicBezTo>
                      <a:pt x="81224" y="25959"/>
                      <a:pt x="149023" y="79826"/>
                      <a:pt x="185400" y="152157"/>
                    </a:cubicBezTo>
                    <a:cubicBezTo>
                      <a:pt x="187941" y="150887"/>
                      <a:pt x="190524" y="149786"/>
                      <a:pt x="193277" y="148939"/>
                    </a:cubicBezTo>
                    <a:cubicBezTo>
                      <a:pt x="155629" y="73686"/>
                      <a:pt x="85077" y="17702"/>
                      <a:pt x="551" y="0"/>
                    </a:cubicBezTo>
                    <a:cubicBezTo>
                      <a:pt x="551" y="296"/>
                      <a:pt x="593" y="593"/>
                      <a:pt x="593" y="932"/>
                    </a:cubicBezTo>
                    <a:close/>
                  </a:path>
                </a:pathLst>
              </a:custGeom>
              <a:solidFill>
                <a:srgbClr val="000000"/>
              </a:solidFill>
              <a:ln w="4035"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87C48631-4319-90A7-7857-CB20372AFFF2}"/>
                  </a:ext>
                </a:extLst>
              </p:cNvPr>
              <p:cNvSpPr/>
              <p:nvPr/>
            </p:nvSpPr>
            <p:spPr>
              <a:xfrm>
                <a:off x="9577420" y="5261194"/>
                <a:ext cx="197892" cy="151987"/>
              </a:xfrm>
              <a:custGeom>
                <a:avLst/>
                <a:gdLst>
                  <a:gd name="connsiteX0" fmla="*/ 8131 w 197892"/>
                  <a:gd name="connsiteY0" fmla="*/ 151945 h 151987"/>
                  <a:gd name="connsiteX1" fmla="*/ 197893 w 197892"/>
                  <a:gd name="connsiteY1" fmla="*/ 8554 h 151987"/>
                  <a:gd name="connsiteX2" fmla="*/ 197469 w 197892"/>
                  <a:gd name="connsiteY2" fmla="*/ 1906 h 151987"/>
                  <a:gd name="connsiteX3" fmla="*/ 197554 w 197892"/>
                  <a:gd name="connsiteY3" fmla="*/ 0 h 151987"/>
                  <a:gd name="connsiteX4" fmla="*/ 0 w 197892"/>
                  <a:gd name="connsiteY4" fmla="*/ 149235 h 151987"/>
                  <a:gd name="connsiteX5" fmla="*/ 8131 w 197892"/>
                  <a:gd name="connsiteY5" fmla="*/ 151988 h 15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92" h="151987">
                    <a:moveTo>
                      <a:pt x="8131" y="151945"/>
                    </a:moveTo>
                    <a:cubicBezTo>
                      <a:pt x="45397" y="78768"/>
                      <a:pt x="114933" y="24689"/>
                      <a:pt x="197893" y="8554"/>
                    </a:cubicBezTo>
                    <a:cubicBezTo>
                      <a:pt x="197639" y="6395"/>
                      <a:pt x="197469" y="4150"/>
                      <a:pt x="197469" y="1906"/>
                    </a:cubicBezTo>
                    <a:cubicBezTo>
                      <a:pt x="197469" y="1270"/>
                      <a:pt x="197554" y="635"/>
                      <a:pt x="197554" y="0"/>
                    </a:cubicBezTo>
                    <a:cubicBezTo>
                      <a:pt x="110994" y="16431"/>
                      <a:pt x="38494" y="72839"/>
                      <a:pt x="0" y="149235"/>
                    </a:cubicBezTo>
                    <a:cubicBezTo>
                      <a:pt x="2795" y="149955"/>
                      <a:pt x="5505" y="150844"/>
                      <a:pt x="8131" y="151988"/>
                    </a:cubicBezTo>
                    <a:close/>
                  </a:path>
                </a:pathLst>
              </a:custGeom>
              <a:solidFill>
                <a:srgbClr val="000000"/>
              </a:solidFill>
              <a:ln w="4035"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BD5C2772-14EA-DF8A-9454-B59D3C608DCE}"/>
                  </a:ext>
                </a:extLst>
              </p:cNvPr>
              <p:cNvSpPr/>
              <p:nvPr/>
            </p:nvSpPr>
            <p:spPr>
              <a:xfrm>
                <a:off x="10015215" y="5516935"/>
                <a:ext cx="91387" cy="220253"/>
              </a:xfrm>
              <a:custGeom>
                <a:avLst/>
                <a:gdLst>
                  <a:gd name="connsiteX0" fmla="*/ 82325 w 91387"/>
                  <a:gd name="connsiteY0" fmla="*/ 1186 h 220253"/>
                  <a:gd name="connsiteX1" fmla="*/ 82960 w 91387"/>
                  <a:gd name="connsiteY1" fmla="*/ 18803 h 220253"/>
                  <a:gd name="connsiteX2" fmla="*/ 0 w 91387"/>
                  <a:gd name="connsiteY2" fmla="*/ 213689 h 220253"/>
                  <a:gd name="connsiteX3" fmla="*/ 5378 w 91387"/>
                  <a:gd name="connsiteY3" fmla="*/ 220253 h 220253"/>
                  <a:gd name="connsiteX4" fmla="*/ 91387 w 91387"/>
                  <a:gd name="connsiteY4" fmla="*/ 18845 h 220253"/>
                  <a:gd name="connsiteX5" fmla="*/ 90667 w 91387"/>
                  <a:gd name="connsiteY5" fmla="*/ 0 h 220253"/>
                  <a:gd name="connsiteX6" fmla="*/ 82282 w 91387"/>
                  <a:gd name="connsiteY6" fmla="*/ 1228 h 2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7" h="220253">
                    <a:moveTo>
                      <a:pt x="82325" y="1186"/>
                    </a:moveTo>
                    <a:cubicBezTo>
                      <a:pt x="82706" y="7030"/>
                      <a:pt x="82960" y="12874"/>
                      <a:pt x="82960" y="18803"/>
                    </a:cubicBezTo>
                    <a:cubicBezTo>
                      <a:pt x="82960" y="95241"/>
                      <a:pt x="51072" y="164353"/>
                      <a:pt x="0" y="213689"/>
                    </a:cubicBezTo>
                    <a:cubicBezTo>
                      <a:pt x="1948" y="215722"/>
                      <a:pt x="3769" y="217924"/>
                      <a:pt x="5378" y="220253"/>
                    </a:cubicBezTo>
                    <a:cubicBezTo>
                      <a:pt x="58356" y="169350"/>
                      <a:pt x="91387" y="97909"/>
                      <a:pt x="91387" y="18845"/>
                    </a:cubicBezTo>
                    <a:cubicBezTo>
                      <a:pt x="91387" y="12493"/>
                      <a:pt x="91091" y="6225"/>
                      <a:pt x="90667" y="0"/>
                    </a:cubicBezTo>
                    <a:cubicBezTo>
                      <a:pt x="87957" y="635"/>
                      <a:pt x="85120" y="1059"/>
                      <a:pt x="82282" y="1228"/>
                    </a:cubicBezTo>
                    <a:close/>
                  </a:path>
                </a:pathLst>
              </a:custGeom>
              <a:solidFill>
                <a:srgbClr val="000000"/>
              </a:solidFill>
              <a:ln w="4035"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4B9862D-3D48-801D-9AC3-85531506A876}"/>
                  </a:ext>
                </a:extLst>
              </p:cNvPr>
              <p:cNvSpPr/>
              <p:nvPr/>
            </p:nvSpPr>
            <p:spPr>
              <a:xfrm>
                <a:off x="9723563" y="5787583"/>
                <a:ext cx="204795" cy="27695"/>
              </a:xfrm>
              <a:custGeom>
                <a:avLst/>
                <a:gdLst>
                  <a:gd name="connsiteX0" fmla="*/ 201111 w 204795"/>
                  <a:gd name="connsiteY0" fmla="*/ 932 h 27695"/>
                  <a:gd name="connsiteX1" fmla="*/ 103541 w 204795"/>
                  <a:gd name="connsiteY1" fmla="*/ 19184 h 27695"/>
                  <a:gd name="connsiteX2" fmla="*/ 3557 w 204795"/>
                  <a:gd name="connsiteY2" fmla="*/ 0 h 27695"/>
                  <a:gd name="connsiteX3" fmla="*/ 0 w 204795"/>
                  <a:gd name="connsiteY3" fmla="*/ 7707 h 27695"/>
                  <a:gd name="connsiteX4" fmla="*/ 103541 w 204795"/>
                  <a:gd name="connsiteY4" fmla="*/ 27696 h 27695"/>
                  <a:gd name="connsiteX5" fmla="*/ 204795 w 204795"/>
                  <a:gd name="connsiteY5" fmla="*/ 8639 h 27695"/>
                  <a:gd name="connsiteX6" fmla="*/ 201069 w 204795"/>
                  <a:gd name="connsiteY6" fmla="*/ 1016 h 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95" h="27695">
                    <a:moveTo>
                      <a:pt x="201111" y="932"/>
                    </a:moveTo>
                    <a:cubicBezTo>
                      <a:pt x="170832" y="12662"/>
                      <a:pt x="137928" y="19184"/>
                      <a:pt x="103541" y="19184"/>
                    </a:cubicBezTo>
                    <a:cubicBezTo>
                      <a:pt x="69154" y="19184"/>
                      <a:pt x="34514" y="12323"/>
                      <a:pt x="3557" y="0"/>
                    </a:cubicBezTo>
                    <a:cubicBezTo>
                      <a:pt x="2541" y="2668"/>
                      <a:pt x="1355" y="5251"/>
                      <a:pt x="0" y="7707"/>
                    </a:cubicBezTo>
                    <a:cubicBezTo>
                      <a:pt x="32058" y="20539"/>
                      <a:pt x="66995" y="27696"/>
                      <a:pt x="103541" y="27696"/>
                    </a:cubicBezTo>
                    <a:cubicBezTo>
                      <a:pt x="140088" y="27696"/>
                      <a:pt x="173373" y="20878"/>
                      <a:pt x="204795" y="8639"/>
                    </a:cubicBezTo>
                    <a:cubicBezTo>
                      <a:pt x="203356" y="6183"/>
                      <a:pt x="202128" y="3642"/>
                      <a:pt x="201069" y="1016"/>
                    </a:cubicBezTo>
                    <a:close/>
                  </a:path>
                </a:pathLst>
              </a:custGeom>
              <a:solidFill>
                <a:srgbClr val="000000"/>
              </a:solidFill>
              <a:ln w="4035"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4FD5972C-F2B7-5D57-4537-DADF6E8644DA}"/>
                  </a:ext>
                </a:extLst>
              </p:cNvPr>
              <p:cNvSpPr/>
              <p:nvPr/>
            </p:nvSpPr>
            <p:spPr>
              <a:xfrm>
                <a:off x="9547649" y="5516088"/>
                <a:ext cx="89862" cy="219490"/>
              </a:xfrm>
              <a:custGeom>
                <a:avLst/>
                <a:gdLst>
                  <a:gd name="connsiteX0" fmla="*/ 84315 w 89862"/>
                  <a:gd name="connsiteY0" fmla="*/ 219491 h 219490"/>
                  <a:gd name="connsiteX1" fmla="*/ 89863 w 89862"/>
                  <a:gd name="connsiteY1" fmla="*/ 213096 h 219490"/>
                  <a:gd name="connsiteX2" fmla="*/ 8427 w 89862"/>
                  <a:gd name="connsiteY2" fmla="*/ 19650 h 219490"/>
                  <a:gd name="connsiteX3" fmla="*/ 9105 w 89862"/>
                  <a:gd name="connsiteY3" fmla="*/ 1736 h 219490"/>
                  <a:gd name="connsiteX4" fmla="*/ 762 w 89862"/>
                  <a:gd name="connsiteY4" fmla="*/ 0 h 219490"/>
                  <a:gd name="connsiteX5" fmla="*/ 0 w 89862"/>
                  <a:gd name="connsiteY5" fmla="*/ 19650 h 219490"/>
                  <a:gd name="connsiteX6" fmla="*/ 84357 w 89862"/>
                  <a:gd name="connsiteY6" fmla="*/ 219491 h 21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2" h="219490">
                    <a:moveTo>
                      <a:pt x="84315" y="219491"/>
                    </a:moveTo>
                    <a:cubicBezTo>
                      <a:pt x="86009" y="217204"/>
                      <a:pt x="87830" y="215087"/>
                      <a:pt x="89863" y="213096"/>
                    </a:cubicBezTo>
                    <a:cubicBezTo>
                      <a:pt x="39638" y="163888"/>
                      <a:pt x="8427" y="95368"/>
                      <a:pt x="8427" y="19650"/>
                    </a:cubicBezTo>
                    <a:cubicBezTo>
                      <a:pt x="8427" y="13636"/>
                      <a:pt x="8681" y="7665"/>
                      <a:pt x="9105" y="1736"/>
                    </a:cubicBezTo>
                    <a:cubicBezTo>
                      <a:pt x="6225" y="1355"/>
                      <a:pt x="3430" y="805"/>
                      <a:pt x="762" y="0"/>
                    </a:cubicBezTo>
                    <a:cubicBezTo>
                      <a:pt x="296" y="6522"/>
                      <a:pt x="0" y="13043"/>
                      <a:pt x="0" y="19650"/>
                    </a:cubicBezTo>
                    <a:cubicBezTo>
                      <a:pt x="0" y="97909"/>
                      <a:pt x="32354" y="168673"/>
                      <a:pt x="84357" y="219491"/>
                    </a:cubicBezTo>
                    <a:close/>
                  </a:path>
                </a:pathLst>
              </a:custGeom>
              <a:solidFill>
                <a:srgbClr val="000000"/>
              </a:solidFill>
              <a:ln w="4035" cap="flat">
                <a:noFill/>
                <a:prstDash val="solid"/>
                <a:miter/>
              </a:ln>
            </p:spPr>
            <p:txBody>
              <a:bodyPr rtlCol="0" anchor="ctr"/>
              <a:lstStyle/>
              <a:p>
                <a:endParaRPr lang="en-GB"/>
              </a:p>
            </p:txBody>
          </p:sp>
        </p:grpSp>
        <p:sp>
          <p:nvSpPr>
            <p:cNvPr id="202" name="Freeform: Shape 201">
              <a:extLst>
                <a:ext uri="{FF2B5EF4-FFF2-40B4-BE49-F238E27FC236}">
                  <a16:creationId xmlns:a16="http://schemas.microsoft.com/office/drawing/2014/main" id="{7A4E3C6F-F424-6CAA-2858-C4108F8EF638}"/>
                </a:ext>
              </a:extLst>
            </p:cNvPr>
            <p:cNvSpPr/>
            <p:nvPr/>
          </p:nvSpPr>
          <p:spPr>
            <a:xfrm>
              <a:off x="10051465" y="5421313"/>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EC7700"/>
            </a:solidFill>
            <a:ln w="4035"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C2FF7453-848F-F53E-983A-CA1EACDD85B9}"/>
                </a:ext>
              </a:extLst>
            </p:cNvPr>
            <p:cNvSpPr/>
            <p:nvPr/>
          </p:nvSpPr>
          <p:spPr>
            <a:xfrm>
              <a:off x="9525883" y="5425590"/>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006B68"/>
            </a:solidFill>
            <a:ln w="4035"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9C043C27-FBC0-C5FC-1019-DB58F40FAF0F}"/>
                </a:ext>
              </a:extLst>
            </p:cNvPr>
            <p:cNvSpPr/>
            <p:nvPr/>
          </p:nvSpPr>
          <p:spPr>
            <a:xfrm>
              <a:off x="9791786" y="5225199"/>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A32035"/>
            </a:solidFill>
            <a:ln w="4035"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9453BF19-0C82-2862-1C18-A5F9DC9862C5}"/>
                </a:ext>
              </a:extLst>
            </p:cNvPr>
            <p:cNvSpPr/>
            <p:nvPr/>
          </p:nvSpPr>
          <p:spPr>
            <a:xfrm>
              <a:off x="9633701"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011E41"/>
            </a:solidFill>
            <a:ln w="4035"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513F21DB-637E-E887-E682-D8934619EF13}"/>
                </a:ext>
              </a:extLst>
            </p:cNvPr>
            <p:cNvSpPr/>
            <p:nvPr/>
          </p:nvSpPr>
          <p:spPr>
            <a:xfrm>
              <a:off x="9933568"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238DC1"/>
            </a:solidFill>
            <a:ln w="4035" cap="flat">
              <a:noFill/>
              <a:prstDash val="solid"/>
              <a:miter/>
            </a:ln>
          </p:spPr>
          <p:txBody>
            <a:bodyPr rtlCol="0" anchor="ctr"/>
            <a:lstStyle/>
            <a:p>
              <a:endParaRPr lang="en-GB"/>
            </a:p>
          </p:txBody>
        </p:sp>
      </p:grpSp>
      <p:pic>
        <p:nvPicPr>
          <p:cNvPr id="18" name="Picture 17">
            <a:extLst>
              <a:ext uri="{FF2B5EF4-FFF2-40B4-BE49-F238E27FC236}">
                <a16:creationId xmlns:a16="http://schemas.microsoft.com/office/drawing/2014/main" id="{2D40AE6A-482E-0528-E119-8DE4E90CC5F2}"/>
              </a:ext>
            </a:extLst>
          </p:cNvPr>
          <p:cNvPicPr>
            <a:picLocks noChangeAspect="1"/>
          </p:cNvPicPr>
          <p:nvPr/>
        </p:nvPicPr>
        <p:blipFill>
          <a:blip r:embed="rId2"/>
          <a:stretch>
            <a:fillRect/>
          </a:stretch>
        </p:blipFill>
        <p:spPr>
          <a:xfrm>
            <a:off x="3229908" y="1835550"/>
            <a:ext cx="591363" cy="585267"/>
          </a:xfrm>
          <a:prstGeom prst="rect">
            <a:avLst/>
          </a:prstGeom>
        </p:spPr>
      </p:pic>
      <p:pic>
        <p:nvPicPr>
          <p:cNvPr id="21" name="Picture 20">
            <a:extLst>
              <a:ext uri="{FF2B5EF4-FFF2-40B4-BE49-F238E27FC236}">
                <a16:creationId xmlns:a16="http://schemas.microsoft.com/office/drawing/2014/main" id="{63AB9A74-B85F-10C4-5F28-6BF32C01A681}"/>
              </a:ext>
            </a:extLst>
          </p:cNvPr>
          <p:cNvPicPr>
            <a:picLocks noChangeAspect="1"/>
          </p:cNvPicPr>
          <p:nvPr/>
        </p:nvPicPr>
        <p:blipFill>
          <a:blip r:embed="rId3"/>
          <a:stretch>
            <a:fillRect/>
          </a:stretch>
        </p:blipFill>
        <p:spPr>
          <a:xfrm>
            <a:off x="4503438" y="1835550"/>
            <a:ext cx="591363" cy="585267"/>
          </a:xfrm>
          <a:prstGeom prst="rect">
            <a:avLst/>
          </a:prstGeom>
        </p:spPr>
      </p:pic>
      <p:pic>
        <p:nvPicPr>
          <p:cNvPr id="23" name="Picture 22">
            <a:extLst>
              <a:ext uri="{FF2B5EF4-FFF2-40B4-BE49-F238E27FC236}">
                <a16:creationId xmlns:a16="http://schemas.microsoft.com/office/drawing/2014/main" id="{A9220B04-F985-A2A5-BA34-18560C3C99B1}"/>
              </a:ext>
            </a:extLst>
          </p:cNvPr>
          <p:cNvPicPr>
            <a:picLocks noChangeAspect="1"/>
          </p:cNvPicPr>
          <p:nvPr/>
        </p:nvPicPr>
        <p:blipFill>
          <a:blip r:embed="rId4"/>
          <a:stretch>
            <a:fillRect/>
          </a:stretch>
        </p:blipFill>
        <p:spPr>
          <a:xfrm>
            <a:off x="5780015" y="1835550"/>
            <a:ext cx="585267" cy="585267"/>
          </a:xfrm>
          <a:prstGeom prst="rect">
            <a:avLst/>
          </a:prstGeom>
        </p:spPr>
      </p:pic>
      <p:pic>
        <p:nvPicPr>
          <p:cNvPr id="26" name="Picture 25">
            <a:extLst>
              <a:ext uri="{FF2B5EF4-FFF2-40B4-BE49-F238E27FC236}">
                <a16:creationId xmlns:a16="http://schemas.microsoft.com/office/drawing/2014/main" id="{AC033D22-CE50-CD7A-7BDA-E4C7CD21428C}"/>
              </a:ext>
            </a:extLst>
          </p:cNvPr>
          <p:cNvPicPr>
            <a:picLocks noChangeAspect="1"/>
          </p:cNvPicPr>
          <p:nvPr/>
        </p:nvPicPr>
        <p:blipFill>
          <a:blip r:embed="rId5"/>
          <a:stretch>
            <a:fillRect/>
          </a:stretch>
        </p:blipFill>
        <p:spPr>
          <a:xfrm>
            <a:off x="7053544" y="1835550"/>
            <a:ext cx="585267" cy="585267"/>
          </a:xfrm>
          <a:prstGeom prst="rect">
            <a:avLst/>
          </a:prstGeom>
        </p:spPr>
      </p:pic>
      <p:pic>
        <p:nvPicPr>
          <p:cNvPr id="28" name="Picture 27">
            <a:extLst>
              <a:ext uri="{FF2B5EF4-FFF2-40B4-BE49-F238E27FC236}">
                <a16:creationId xmlns:a16="http://schemas.microsoft.com/office/drawing/2014/main" id="{B077973F-6491-F95A-8313-045CD24464B4}"/>
              </a:ext>
            </a:extLst>
          </p:cNvPr>
          <p:cNvPicPr>
            <a:picLocks noChangeAspect="1"/>
          </p:cNvPicPr>
          <p:nvPr/>
        </p:nvPicPr>
        <p:blipFill>
          <a:blip r:embed="rId6"/>
          <a:stretch>
            <a:fillRect/>
          </a:stretch>
        </p:blipFill>
        <p:spPr>
          <a:xfrm>
            <a:off x="8327070" y="1835550"/>
            <a:ext cx="585267" cy="585267"/>
          </a:xfrm>
          <a:prstGeom prst="rect">
            <a:avLst/>
          </a:prstGeom>
        </p:spPr>
      </p:pic>
      <p:pic>
        <p:nvPicPr>
          <p:cNvPr id="30" name="Picture 29">
            <a:extLst>
              <a:ext uri="{FF2B5EF4-FFF2-40B4-BE49-F238E27FC236}">
                <a16:creationId xmlns:a16="http://schemas.microsoft.com/office/drawing/2014/main" id="{96225E52-1D41-66BE-29ED-3AC826A79FE3}"/>
              </a:ext>
            </a:extLst>
          </p:cNvPr>
          <p:cNvPicPr>
            <a:picLocks noChangeAspect="1"/>
          </p:cNvPicPr>
          <p:nvPr/>
        </p:nvPicPr>
        <p:blipFill>
          <a:blip r:embed="rId7"/>
          <a:stretch>
            <a:fillRect/>
          </a:stretch>
        </p:blipFill>
        <p:spPr>
          <a:xfrm>
            <a:off x="9527570" y="1835550"/>
            <a:ext cx="585267" cy="585267"/>
          </a:xfrm>
          <a:prstGeom prst="rect">
            <a:avLst/>
          </a:prstGeom>
        </p:spPr>
      </p:pic>
      <p:pic>
        <p:nvPicPr>
          <p:cNvPr id="33" name="Picture 32">
            <a:extLst>
              <a:ext uri="{FF2B5EF4-FFF2-40B4-BE49-F238E27FC236}">
                <a16:creationId xmlns:a16="http://schemas.microsoft.com/office/drawing/2014/main" id="{86634629-2362-7AE3-BBD6-30F84CA93D40}"/>
              </a:ext>
            </a:extLst>
          </p:cNvPr>
          <p:cNvPicPr>
            <a:picLocks noChangeAspect="1"/>
          </p:cNvPicPr>
          <p:nvPr/>
        </p:nvPicPr>
        <p:blipFill>
          <a:blip r:embed="rId8"/>
          <a:stretch>
            <a:fillRect/>
          </a:stretch>
        </p:blipFill>
        <p:spPr>
          <a:xfrm>
            <a:off x="10728070" y="1835550"/>
            <a:ext cx="585267" cy="585267"/>
          </a:xfrm>
          <a:prstGeom prst="rect">
            <a:avLst/>
          </a:prstGeom>
        </p:spPr>
      </p:pic>
      <p:pic>
        <p:nvPicPr>
          <p:cNvPr id="36" name="Picture 35">
            <a:extLst>
              <a:ext uri="{FF2B5EF4-FFF2-40B4-BE49-F238E27FC236}">
                <a16:creationId xmlns:a16="http://schemas.microsoft.com/office/drawing/2014/main" id="{25A6C7CF-14E0-5989-FA7E-995E92A21C84}"/>
              </a:ext>
            </a:extLst>
          </p:cNvPr>
          <p:cNvPicPr>
            <a:picLocks noChangeAspect="1"/>
          </p:cNvPicPr>
          <p:nvPr/>
        </p:nvPicPr>
        <p:blipFill>
          <a:blip r:embed="rId9"/>
          <a:stretch>
            <a:fillRect/>
          </a:stretch>
        </p:blipFill>
        <p:spPr>
          <a:xfrm>
            <a:off x="707644" y="2683383"/>
            <a:ext cx="591363" cy="585267"/>
          </a:xfrm>
          <a:prstGeom prst="rect">
            <a:avLst/>
          </a:prstGeom>
        </p:spPr>
      </p:pic>
      <p:pic>
        <p:nvPicPr>
          <p:cNvPr id="38" name="Picture 37">
            <a:extLst>
              <a:ext uri="{FF2B5EF4-FFF2-40B4-BE49-F238E27FC236}">
                <a16:creationId xmlns:a16="http://schemas.microsoft.com/office/drawing/2014/main" id="{A88BD845-F53A-7900-94E4-FF3675A5798B}"/>
              </a:ext>
            </a:extLst>
          </p:cNvPr>
          <p:cNvPicPr>
            <a:picLocks noChangeAspect="1"/>
          </p:cNvPicPr>
          <p:nvPr/>
        </p:nvPicPr>
        <p:blipFill>
          <a:blip r:embed="rId10"/>
          <a:stretch>
            <a:fillRect/>
          </a:stretch>
        </p:blipFill>
        <p:spPr>
          <a:xfrm>
            <a:off x="1981172" y="2683383"/>
            <a:ext cx="591363" cy="585267"/>
          </a:xfrm>
          <a:prstGeom prst="rect">
            <a:avLst/>
          </a:prstGeom>
        </p:spPr>
      </p:pic>
      <p:pic>
        <p:nvPicPr>
          <p:cNvPr id="41" name="Picture 40">
            <a:extLst>
              <a:ext uri="{FF2B5EF4-FFF2-40B4-BE49-F238E27FC236}">
                <a16:creationId xmlns:a16="http://schemas.microsoft.com/office/drawing/2014/main" id="{B9B681EB-57C6-3ABE-9ED1-0F1A398B0173}"/>
              </a:ext>
            </a:extLst>
          </p:cNvPr>
          <p:cNvPicPr>
            <a:picLocks noChangeAspect="1"/>
          </p:cNvPicPr>
          <p:nvPr/>
        </p:nvPicPr>
        <p:blipFill>
          <a:blip r:embed="rId11"/>
          <a:stretch>
            <a:fillRect/>
          </a:stretch>
        </p:blipFill>
        <p:spPr>
          <a:xfrm>
            <a:off x="3254701" y="2683383"/>
            <a:ext cx="591363" cy="585267"/>
          </a:xfrm>
          <a:prstGeom prst="rect">
            <a:avLst/>
          </a:prstGeom>
        </p:spPr>
      </p:pic>
      <p:pic>
        <p:nvPicPr>
          <p:cNvPr id="45" name="Picture 44">
            <a:extLst>
              <a:ext uri="{FF2B5EF4-FFF2-40B4-BE49-F238E27FC236}">
                <a16:creationId xmlns:a16="http://schemas.microsoft.com/office/drawing/2014/main" id="{60A2A273-EF1F-357B-E821-56C68C2D705F}"/>
              </a:ext>
            </a:extLst>
          </p:cNvPr>
          <p:cNvPicPr>
            <a:picLocks noChangeAspect="1"/>
          </p:cNvPicPr>
          <p:nvPr/>
        </p:nvPicPr>
        <p:blipFill>
          <a:blip r:embed="rId12"/>
          <a:stretch>
            <a:fillRect/>
          </a:stretch>
        </p:blipFill>
        <p:spPr>
          <a:xfrm>
            <a:off x="4528231" y="2683383"/>
            <a:ext cx="591363" cy="585267"/>
          </a:xfrm>
          <a:prstGeom prst="rect">
            <a:avLst/>
          </a:prstGeom>
        </p:spPr>
      </p:pic>
      <p:pic>
        <p:nvPicPr>
          <p:cNvPr id="49" name="Picture 48">
            <a:extLst>
              <a:ext uri="{FF2B5EF4-FFF2-40B4-BE49-F238E27FC236}">
                <a16:creationId xmlns:a16="http://schemas.microsoft.com/office/drawing/2014/main" id="{CA797B01-052A-EC2E-CCD6-72200FB72014}"/>
              </a:ext>
            </a:extLst>
          </p:cNvPr>
          <p:cNvPicPr>
            <a:picLocks noChangeAspect="1"/>
          </p:cNvPicPr>
          <p:nvPr/>
        </p:nvPicPr>
        <p:blipFill>
          <a:blip r:embed="rId13"/>
          <a:stretch>
            <a:fillRect/>
          </a:stretch>
        </p:blipFill>
        <p:spPr>
          <a:xfrm>
            <a:off x="5801759" y="2683383"/>
            <a:ext cx="591363" cy="585267"/>
          </a:xfrm>
          <a:prstGeom prst="rect">
            <a:avLst/>
          </a:prstGeom>
        </p:spPr>
      </p:pic>
      <p:pic>
        <p:nvPicPr>
          <p:cNvPr id="52" name="Picture 51">
            <a:extLst>
              <a:ext uri="{FF2B5EF4-FFF2-40B4-BE49-F238E27FC236}">
                <a16:creationId xmlns:a16="http://schemas.microsoft.com/office/drawing/2014/main" id="{68733F4B-C687-EB88-6CAC-A1802431B138}"/>
              </a:ext>
            </a:extLst>
          </p:cNvPr>
          <p:cNvPicPr>
            <a:picLocks noChangeAspect="1"/>
          </p:cNvPicPr>
          <p:nvPr/>
        </p:nvPicPr>
        <p:blipFill>
          <a:blip r:embed="rId14"/>
          <a:stretch>
            <a:fillRect/>
          </a:stretch>
        </p:blipFill>
        <p:spPr>
          <a:xfrm>
            <a:off x="7078337" y="2683383"/>
            <a:ext cx="585267" cy="585267"/>
          </a:xfrm>
          <a:prstGeom prst="rect">
            <a:avLst/>
          </a:prstGeom>
        </p:spPr>
      </p:pic>
      <p:pic>
        <p:nvPicPr>
          <p:cNvPr id="55" name="Picture 54">
            <a:extLst>
              <a:ext uri="{FF2B5EF4-FFF2-40B4-BE49-F238E27FC236}">
                <a16:creationId xmlns:a16="http://schemas.microsoft.com/office/drawing/2014/main" id="{F42073DD-BAD6-CD0F-BDBF-05746B69CDBC}"/>
              </a:ext>
            </a:extLst>
          </p:cNvPr>
          <p:cNvPicPr>
            <a:picLocks noChangeAspect="1"/>
          </p:cNvPicPr>
          <p:nvPr/>
        </p:nvPicPr>
        <p:blipFill>
          <a:blip r:embed="rId15"/>
          <a:stretch>
            <a:fillRect/>
          </a:stretch>
        </p:blipFill>
        <p:spPr>
          <a:xfrm>
            <a:off x="8351865" y="2683383"/>
            <a:ext cx="585267" cy="585267"/>
          </a:xfrm>
          <a:prstGeom prst="rect">
            <a:avLst/>
          </a:prstGeom>
        </p:spPr>
      </p:pic>
      <p:pic>
        <p:nvPicPr>
          <p:cNvPr id="59" name="Picture 58">
            <a:extLst>
              <a:ext uri="{FF2B5EF4-FFF2-40B4-BE49-F238E27FC236}">
                <a16:creationId xmlns:a16="http://schemas.microsoft.com/office/drawing/2014/main" id="{49AB56DC-FA49-01AC-3364-A87B4D37984C}"/>
              </a:ext>
            </a:extLst>
          </p:cNvPr>
          <p:cNvPicPr>
            <a:picLocks noChangeAspect="1"/>
          </p:cNvPicPr>
          <p:nvPr/>
        </p:nvPicPr>
        <p:blipFill>
          <a:blip r:embed="rId16"/>
          <a:stretch>
            <a:fillRect/>
          </a:stretch>
        </p:blipFill>
        <p:spPr>
          <a:xfrm>
            <a:off x="9527570" y="2683383"/>
            <a:ext cx="585267" cy="585267"/>
          </a:xfrm>
          <a:prstGeom prst="rect">
            <a:avLst/>
          </a:prstGeom>
        </p:spPr>
      </p:pic>
      <p:pic>
        <p:nvPicPr>
          <p:cNvPr id="63" name="Picture 62">
            <a:extLst>
              <a:ext uri="{FF2B5EF4-FFF2-40B4-BE49-F238E27FC236}">
                <a16:creationId xmlns:a16="http://schemas.microsoft.com/office/drawing/2014/main" id="{BEA38AA1-8413-8CB5-E64A-ECB3D4079775}"/>
              </a:ext>
            </a:extLst>
          </p:cNvPr>
          <p:cNvPicPr>
            <a:picLocks noChangeAspect="1"/>
          </p:cNvPicPr>
          <p:nvPr/>
        </p:nvPicPr>
        <p:blipFill>
          <a:blip r:embed="rId17"/>
          <a:stretch>
            <a:fillRect/>
          </a:stretch>
        </p:blipFill>
        <p:spPr>
          <a:xfrm>
            <a:off x="10728070" y="2683383"/>
            <a:ext cx="585267" cy="585267"/>
          </a:xfrm>
          <a:prstGeom prst="rect">
            <a:avLst/>
          </a:prstGeom>
        </p:spPr>
      </p:pic>
      <p:pic>
        <p:nvPicPr>
          <p:cNvPr id="131" name="Picture 130">
            <a:extLst>
              <a:ext uri="{FF2B5EF4-FFF2-40B4-BE49-F238E27FC236}">
                <a16:creationId xmlns:a16="http://schemas.microsoft.com/office/drawing/2014/main" id="{25F6DFA9-CAC8-6532-C502-1BB3DCC79002}"/>
              </a:ext>
            </a:extLst>
          </p:cNvPr>
          <p:cNvPicPr>
            <a:picLocks noChangeAspect="1"/>
          </p:cNvPicPr>
          <p:nvPr/>
        </p:nvPicPr>
        <p:blipFill>
          <a:blip r:embed="rId18"/>
          <a:stretch>
            <a:fillRect/>
          </a:stretch>
        </p:blipFill>
        <p:spPr>
          <a:xfrm>
            <a:off x="707644" y="3528170"/>
            <a:ext cx="591363" cy="591363"/>
          </a:xfrm>
          <a:prstGeom prst="rect">
            <a:avLst/>
          </a:prstGeom>
        </p:spPr>
      </p:pic>
      <p:pic>
        <p:nvPicPr>
          <p:cNvPr id="135" name="Picture 134">
            <a:extLst>
              <a:ext uri="{FF2B5EF4-FFF2-40B4-BE49-F238E27FC236}">
                <a16:creationId xmlns:a16="http://schemas.microsoft.com/office/drawing/2014/main" id="{7E342029-32F9-8915-E4B3-79E21EABF93B}"/>
              </a:ext>
            </a:extLst>
          </p:cNvPr>
          <p:cNvPicPr>
            <a:picLocks noChangeAspect="1"/>
          </p:cNvPicPr>
          <p:nvPr/>
        </p:nvPicPr>
        <p:blipFill>
          <a:blip r:embed="rId19"/>
          <a:stretch>
            <a:fillRect/>
          </a:stretch>
        </p:blipFill>
        <p:spPr>
          <a:xfrm>
            <a:off x="1981172" y="3528170"/>
            <a:ext cx="591363" cy="591363"/>
          </a:xfrm>
          <a:prstGeom prst="rect">
            <a:avLst/>
          </a:prstGeom>
        </p:spPr>
      </p:pic>
      <p:pic>
        <p:nvPicPr>
          <p:cNvPr id="139" name="Picture 138">
            <a:extLst>
              <a:ext uri="{FF2B5EF4-FFF2-40B4-BE49-F238E27FC236}">
                <a16:creationId xmlns:a16="http://schemas.microsoft.com/office/drawing/2014/main" id="{0F7DB957-36E0-21FE-07D2-C084E46AD66D}"/>
              </a:ext>
            </a:extLst>
          </p:cNvPr>
          <p:cNvPicPr>
            <a:picLocks noChangeAspect="1"/>
          </p:cNvPicPr>
          <p:nvPr/>
        </p:nvPicPr>
        <p:blipFill>
          <a:blip r:embed="rId20"/>
          <a:stretch>
            <a:fillRect/>
          </a:stretch>
        </p:blipFill>
        <p:spPr>
          <a:xfrm>
            <a:off x="3254701" y="3528170"/>
            <a:ext cx="591363" cy="591363"/>
          </a:xfrm>
          <a:prstGeom prst="rect">
            <a:avLst/>
          </a:prstGeom>
        </p:spPr>
      </p:pic>
      <p:pic>
        <p:nvPicPr>
          <p:cNvPr id="143" name="Picture 142">
            <a:extLst>
              <a:ext uri="{FF2B5EF4-FFF2-40B4-BE49-F238E27FC236}">
                <a16:creationId xmlns:a16="http://schemas.microsoft.com/office/drawing/2014/main" id="{A2DED2B8-AE60-C857-652D-8A3F82CC098A}"/>
              </a:ext>
            </a:extLst>
          </p:cNvPr>
          <p:cNvPicPr>
            <a:picLocks noChangeAspect="1"/>
          </p:cNvPicPr>
          <p:nvPr/>
        </p:nvPicPr>
        <p:blipFill>
          <a:blip r:embed="rId21"/>
          <a:stretch>
            <a:fillRect/>
          </a:stretch>
        </p:blipFill>
        <p:spPr>
          <a:xfrm>
            <a:off x="4528231" y="3528170"/>
            <a:ext cx="591363" cy="591363"/>
          </a:xfrm>
          <a:prstGeom prst="rect">
            <a:avLst/>
          </a:prstGeom>
        </p:spPr>
      </p:pic>
      <p:pic>
        <p:nvPicPr>
          <p:cNvPr id="147" name="Picture 146">
            <a:extLst>
              <a:ext uri="{FF2B5EF4-FFF2-40B4-BE49-F238E27FC236}">
                <a16:creationId xmlns:a16="http://schemas.microsoft.com/office/drawing/2014/main" id="{AB9A3A20-879E-EE10-789D-5962218AE325}"/>
              </a:ext>
            </a:extLst>
          </p:cNvPr>
          <p:cNvPicPr>
            <a:picLocks noChangeAspect="1"/>
          </p:cNvPicPr>
          <p:nvPr/>
        </p:nvPicPr>
        <p:blipFill>
          <a:blip r:embed="rId22"/>
          <a:stretch>
            <a:fillRect/>
          </a:stretch>
        </p:blipFill>
        <p:spPr>
          <a:xfrm>
            <a:off x="5801759" y="3528170"/>
            <a:ext cx="591363" cy="591363"/>
          </a:xfrm>
          <a:prstGeom prst="rect">
            <a:avLst/>
          </a:prstGeom>
        </p:spPr>
      </p:pic>
      <p:pic>
        <p:nvPicPr>
          <p:cNvPr id="151" name="Picture 150">
            <a:extLst>
              <a:ext uri="{FF2B5EF4-FFF2-40B4-BE49-F238E27FC236}">
                <a16:creationId xmlns:a16="http://schemas.microsoft.com/office/drawing/2014/main" id="{264196F5-E7BE-B237-BF86-86E0806A2E8F}"/>
              </a:ext>
            </a:extLst>
          </p:cNvPr>
          <p:cNvPicPr>
            <a:picLocks noChangeAspect="1"/>
          </p:cNvPicPr>
          <p:nvPr/>
        </p:nvPicPr>
        <p:blipFill>
          <a:blip r:embed="rId23"/>
          <a:stretch>
            <a:fillRect/>
          </a:stretch>
        </p:blipFill>
        <p:spPr>
          <a:xfrm>
            <a:off x="7078337" y="3528170"/>
            <a:ext cx="585267" cy="591363"/>
          </a:xfrm>
          <a:prstGeom prst="rect">
            <a:avLst/>
          </a:prstGeom>
        </p:spPr>
      </p:pic>
      <p:pic>
        <p:nvPicPr>
          <p:cNvPr id="153" name="Picture 152">
            <a:extLst>
              <a:ext uri="{FF2B5EF4-FFF2-40B4-BE49-F238E27FC236}">
                <a16:creationId xmlns:a16="http://schemas.microsoft.com/office/drawing/2014/main" id="{BEA89DC9-4833-DF75-A28A-074A76DCCFD0}"/>
              </a:ext>
            </a:extLst>
          </p:cNvPr>
          <p:cNvPicPr>
            <a:picLocks noChangeAspect="1"/>
          </p:cNvPicPr>
          <p:nvPr/>
        </p:nvPicPr>
        <p:blipFill>
          <a:blip r:embed="rId24"/>
          <a:stretch>
            <a:fillRect/>
          </a:stretch>
        </p:blipFill>
        <p:spPr>
          <a:xfrm>
            <a:off x="8351865" y="3528170"/>
            <a:ext cx="585267" cy="591363"/>
          </a:xfrm>
          <a:prstGeom prst="rect">
            <a:avLst/>
          </a:prstGeom>
        </p:spPr>
      </p:pic>
      <p:pic>
        <p:nvPicPr>
          <p:cNvPr id="156" name="Picture 155">
            <a:extLst>
              <a:ext uri="{FF2B5EF4-FFF2-40B4-BE49-F238E27FC236}">
                <a16:creationId xmlns:a16="http://schemas.microsoft.com/office/drawing/2014/main" id="{884D8F50-DD00-1F6E-56F2-5A26ACB32C69}"/>
              </a:ext>
            </a:extLst>
          </p:cNvPr>
          <p:cNvPicPr>
            <a:picLocks noChangeAspect="1"/>
          </p:cNvPicPr>
          <p:nvPr/>
        </p:nvPicPr>
        <p:blipFill>
          <a:blip r:embed="rId25"/>
          <a:stretch>
            <a:fillRect/>
          </a:stretch>
        </p:blipFill>
        <p:spPr>
          <a:xfrm>
            <a:off x="9527570" y="3528170"/>
            <a:ext cx="585267" cy="591363"/>
          </a:xfrm>
          <a:prstGeom prst="rect">
            <a:avLst/>
          </a:prstGeom>
        </p:spPr>
      </p:pic>
      <p:pic>
        <p:nvPicPr>
          <p:cNvPr id="160" name="Picture 159">
            <a:extLst>
              <a:ext uri="{FF2B5EF4-FFF2-40B4-BE49-F238E27FC236}">
                <a16:creationId xmlns:a16="http://schemas.microsoft.com/office/drawing/2014/main" id="{DCE7D15F-A87F-76A7-FD85-8E8F2303FFC8}"/>
              </a:ext>
            </a:extLst>
          </p:cNvPr>
          <p:cNvPicPr>
            <a:picLocks noChangeAspect="1"/>
          </p:cNvPicPr>
          <p:nvPr/>
        </p:nvPicPr>
        <p:blipFill>
          <a:blip r:embed="rId26"/>
          <a:stretch>
            <a:fillRect/>
          </a:stretch>
        </p:blipFill>
        <p:spPr>
          <a:xfrm>
            <a:off x="10733615" y="3528170"/>
            <a:ext cx="591363" cy="591363"/>
          </a:xfrm>
          <a:prstGeom prst="rect">
            <a:avLst/>
          </a:prstGeom>
        </p:spPr>
      </p:pic>
      <p:pic>
        <p:nvPicPr>
          <p:cNvPr id="163" name="Picture 162">
            <a:extLst>
              <a:ext uri="{FF2B5EF4-FFF2-40B4-BE49-F238E27FC236}">
                <a16:creationId xmlns:a16="http://schemas.microsoft.com/office/drawing/2014/main" id="{67CC38AA-4DD1-8438-981B-238D34BE3542}"/>
              </a:ext>
            </a:extLst>
          </p:cNvPr>
          <p:cNvPicPr>
            <a:picLocks noChangeAspect="1"/>
          </p:cNvPicPr>
          <p:nvPr/>
        </p:nvPicPr>
        <p:blipFill>
          <a:blip r:embed="rId27"/>
          <a:stretch>
            <a:fillRect/>
          </a:stretch>
        </p:blipFill>
        <p:spPr>
          <a:xfrm>
            <a:off x="707644" y="4376003"/>
            <a:ext cx="591363" cy="591363"/>
          </a:xfrm>
          <a:prstGeom prst="rect">
            <a:avLst/>
          </a:prstGeom>
        </p:spPr>
      </p:pic>
      <p:pic>
        <p:nvPicPr>
          <p:cNvPr id="166" name="Picture 165">
            <a:extLst>
              <a:ext uri="{FF2B5EF4-FFF2-40B4-BE49-F238E27FC236}">
                <a16:creationId xmlns:a16="http://schemas.microsoft.com/office/drawing/2014/main" id="{6D22315E-A40F-F149-95E2-2C9CDCE957E4}"/>
              </a:ext>
            </a:extLst>
          </p:cNvPr>
          <p:cNvPicPr>
            <a:picLocks noChangeAspect="1"/>
          </p:cNvPicPr>
          <p:nvPr/>
        </p:nvPicPr>
        <p:blipFill>
          <a:blip r:embed="rId28"/>
          <a:stretch>
            <a:fillRect/>
          </a:stretch>
        </p:blipFill>
        <p:spPr>
          <a:xfrm>
            <a:off x="1981172" y="4376003"/>
            <a:ext cx="591363" cy="591363"/>
          </a:xfrm>
          <a:prstGeom prst="rect">
            <a:avLst/>
          </a:prstGeom>
        </p:spPr>
      </p:pic>
      <p:pic>
        <p:nvPicPr>
          <p:cNvPr id="170" name="Picture 169">
            <a:extLst>
              <a:ext uri="{FF2B5EF4-FFF2-40B4-BE49-F238E27FC236}">
                <a16:creationId xmlns:a16="http://schemas.microsoft.com/office/drawing/2014/main" id="{4E861D60-A711-A2F0-0DAE-A60944BEB0B8}"/>
              </a:ext>
            </a:extLst>
          </p:cNvPr>
          <p:cNvPicPr>
            <a:picLocks noChangeAspect="1"/>
          </p:cNvPicPr>
          <p:nvPr/>
        </p:nvPicPr>
        <p:blipFill>
          <a:blip r:embed="rId29"/>
          <a:stretch>
            <a:fillRect/>
          </a:stretch>
        </p:blipFill>
        <p:spPr>
          <a:xfrm>
            <a:off x="3254701" y="4376003"/>
            <a:ext cx="591363" cy="591363"/>
          </a:xfrm>
          <a:prstGeom prst="rect">
            <a:avLst/>
          </a:prstGeom>
        </p:spPr>
      </p:pic>
      <p:pic>
        <p:nvPicPr>
          <p:cNvPr id="174" name="Picture 173">
            <a:extLst>
              <a:ext uri="{FF2B5EF4-FFF2-40B4-BE49-F238E27FC236}">
                <a16:creationId xmlns:a16="http://schemas.microsoft.com/office/drawing/2014/main" id="{92211E48-E1B5-3750-019F-5BDE0979BC80}"/>
              </a:ext>
            </a:extLst>
          </p:cNvPr>
          <p:cNvPicPr>
            <a:picLocks noChangeAspect="1"/>
          </p:cNvPicPr>
          <p:nvPr/>
        </p:nvPicPr>
        <p:blipFill>
          <a:blip r:embed="rId30"/>
          <a:stretch>
            <a:fillRect/>
          </a:stretch>
        </p:blipFill>
        <p:spPr>
          <a:xfrm>
            <a:off x="4528231" y="4376003"/>
            <a:ext cx="591363" cy="591363"/>
          </a:xfrm>
          <a:prstGeom prst="rect">
            <a:avLst/>
          </a:prstGeom>
        </p:spPr>
      </p:pic>
      <p:pic>
        <p:nvPicPr>
          <p:cNvPr id="177" name="Picture 176">
            <a:extLst>
              <a:ext uri="{FF2B5EF4-FFF2-40B4-BE49-F238E27FC236}">
                <a16:creationId xmlns:a16="http://schemas.microsoft.com/office/drawing/2014/main" id="{E8DF56D2-88A1-D717-5D20-FEA1637C736F}"/>
              </a:ext>
            </a:extLst>
          </p:cNvPr>
          <p:cNvPicPr>
            <a:picLocks noChangeAspect="1"/>
          </p:cNvPicPr>
          <p:nvPr/>
        </p:nvPicPr>
        <p:blipFill>
          <a:blip r:embed="rId31"/>
          <a:stretch>
            <a:fillRect/>
          </a:stretch>
        </p:blipFill>
        <p:spPr>
          <a:xfrm>
            <a:off x="5801759" y="4376003"/>
            <a:ext cx="591363" cy="591363"/>
          </a:xfrm>
          <a:prstGeom prst="rect">
            <a:avLst/>
          </a:prstGeom>
        </p:spPr>
      </p:pic>
      <p:pic>
        <p:nvPicPr>
          <p:cNvPr id="179" name="Picture 178">
            <a:extLst>
              <a:ext uri="{FF2B5EF4-FFF2-40B4-BE49-F238E27FC236}">
                <a16:creationId xmlns:a16="http://schemas.microsoft.com/office/drawing/2014/main" id="{E977EB29-6BC5-1A10-59A2-0C557281F40C}"/>
              </a:ext>
            </a:extLst>
          </p:cNvPr>
          <p:cNvPicPr>
            <a:picLocks noChangeAspect="1"/>
          </p:cNvPicPr>
          <p:nvPr/>
        </p:nvPicPr>
        <p:blipFill>
          <a:blip r:embed="rId32"/>
          <a:stretch>
            <a:fillRect/>
          </a:stretch>
        </p:blipFill>
        <p:spPr>
          <a:xfrm>
            <a:off x="7078337" y="4376003"/>
            <a:ext cx="585267" cy="591363"/>
          </a:xfrm>
          <a:prstGeom prst="rect">
            <a:avLst/>
          </a:prstGeom>
        </p:spPr>
      </p:pic>
      <p:pic>
        <p:nvPicPr>
          <p:cNvPr id="181" name="Picture 180">
            <a:extLst>
              <a:ext uri="{FF2B5EF4-FFF2-40B4-BE49-F238E27FC236}">
                <a16:creationId xmlns:a16="http://schemas.microsoft.com/office/drawing/2014/main" id="{18EE2DEC-5077-DE0F-B39F-317F9846C71C}"/>
              </a:ext>
            </a:extLst>
          </p:cNvPr>
          <p:cNvPicPr>
            <a:picLocks noChangeAspect="1"/>
          </p:cNvPicPr>
          <p:nvPr/>
        </p:nvPicPr>
        <p:blipFill>
          <a:blip r:embed="rId33"/>
          <a:stretch>
            <a:fillRect/>
          </a:stretch>
        </p:blipFill>
        <p:spPr>
          <a:xfrm>
            <a:off x="8351865" y="4376003"/>
            <a:ext cx="585267" cy="591363"/>
          </a:xfrm>
          <a:prstGeom prst="rect">
            <a:avLst/>
          </a:prstGeom>
        </p:spPr>
      </p:pic>
      <p:pic>
        <p:nvPicPr>
          <p:cNvPr id="183" name="Picture 182">
            <a:extLst>
              <a:ext uri="{FF2B5EF4-FFF2-40B4-BE49-F238E27FC236}">
                <a16:creationId xmlns:a16="http://schemas.microsoft.com/office/drawing/2014/main" id="{E36776A9-3448-03AA-EEBA-8CC75DC7616F}"/>
              </a:ext>
            </a:extLst>
          </p:cNvPr>
          <p:cNvPicPr>
            <a:picLocks noChangeAspect="1"/>
          </p:cNvPicPr>
          <p:nvPr/>
        </p:nvPicPr>
        <p:blipFill>
          <a:blip r:embed="rId34"/>
          <a:stretch>
            <a:fillRect/>
          </a:stretch>
        </p:blipFill>
        <p:spPr>
          <a:xfrm>
            <a:off x="9527570" y="4376003"/>
            <a:ext cx="585267" cy="591363"/>
          </a:xfrm>
          <a:prstGeom prst="rect">
            <a:avLst/>
          </a:prstGeom>
        </p:spPr>
      </p:pic>
      <p:pic>
        <p:nvPicPr>
          <p:cNvPr id="185" name="Picture 184">
            <a:extLst>
              <a:ext uri="{FF2B5EF4-FFF2-40B4-BE49-F238E27FC236}">
                <a16:creationId xmlns:a16="http://schemas.microsoft.com/office/drawing/2014/main" id="{ED0D5224-7044-C462-334B-F336F08A76E4}"/>
              </a:ext>
            </a:extLst>
          </p:cNvPr>
          <p:cNvPicPr>
            <a:picLocks noChangeAspect="1"/>
          </p:cNvPicPr>
          <p:nvPr/>
        </p:nvPicPr>
        <p:blipFill>
          <a:blip r:embed="rId35"/>
          <a:stretch>
            <a:fillRect/>
          </a:stretch>
        </p:blipFill>
        <p:spPr>
          <a:xfrm>
            <a:off x="707644" y="5223837"/>
            <a:ext cx="591363" cy="591363"/>
          </a:xfrm>
          <a:prstGeom prst="rect">
            <a:avLst/>
          </a:prstGeom>
        </p:spPr>
      </p:pic>
      <p:pic>
        <p:nvPicPr>
          <p:cNvPr id="187" name="Picture 186">
            <a:extLst>
              <a:ext uri="{FF2B5EF4-FFF2-40B4-BE49-F238E27FC236}">
                <a16:creationId xmlns:a16="http://schemas.microsoft.com/office/drawing/2014/main" id="{2E4F31DE-CD5C-7487-4AF4-1D388CF25977}"/>
              </a:ext>
            </a:extLst>
          </p:cNvPr>
          <p:cNvPicPr>
            <a:picLocks noChangeAspect="1"/>
          </p:cNvPicPr>
          <p:nvPr/>
        </p:nvPicPr>
        <p:blipFill>
          <a:blip r:embed="rId36"/>
          <a:stretch>
            <a:fillRect/>
          </a:stretch>
        </p:blipFill>
        <p:spPr>
          <a:xfrm>
            <a:off x="1981172" y="5223837"/>
            <a:ext cx="591363" cy="591363"/>
          </a:xfrm>
          <a:prstGeom prst="rect">
            <a:avLst/>
          </a:prstGeom>
        </p:spPr>
      </p:pic>
      <p:pic>
        <p:nvPicPr>
          <p:cNvPr id="189" name="Picture 188">
            <a:extLst>
              <a:ext uri="{FF2B5EF4-FFF2-40B4-BE49-F238E27FC236}">
                <a16:creationId xmlns:a16="http://schemas.microsoft.com/office/drawing/2014/main" id="{AD880A4B-B374-D12E-5025-000DB753C0BA}"/>
              </a:ext>
            </a:extLst>
          </p:cNvPr>
          <p:cNvPicPr>
            <a:picLocks noChangeAspect="1"/>
          </p:cNvPicPr>
          <p:nvPr/>
        </p:nvPicPr>
        <p:blipFill>
          <a:blip r:embed="rId37"/>
          <a:stretch>
            <a:fillRect/>
          </a:stretch>
        </p:blipFill>
        <p:spPr>
          <a:xfrm>
            <a:off x="3254701" y="5223837"/>
            <a:ext cx="591363" cy="591363"/>
          </a:xfrm>
          <a:prstGeom prst="rect">
            <a:avLst/>
          </a:prstGeom>
        </p:spPr>
      </p:pic>
      <p:pic>
        <p:nvPicPr>
          <p:cNvPr id="191" name="Picture 190">
            <a:extLst>
              <a:ext uri="{FF2B5EF4-FFF2-40B4-BE49-F238E27FC236}">
                <a16:creationId xmlns:a16="http://schemas.microsoft.com/office/drawing/2014/main" id="{C699227B-69E5-7AD9-F185-A54A9C930FC8}"/>
              </a:ext>
            </a:extLst>
          </p:cNvPr>
          <p:cNvPicPr>
            <a:picLocks noChangeAspect="1"/>
          </p:cNvPicPr>
          <p:nvPr/>
        </p:nvPicPr>
        <p:blipFill>
          <a:blip r:embed="rId38"/>
          <a:stretch>
            <a:fillRect/>
          </a:stretch>
        </p:blipFill>
        <p:spPr>
          <a:xfrm>
            <a:off x="4528231" y="5223837"/>
            <a:ext cx="591363" cy="591363"/>
          </a:xfrm>
          <a:prstGeom prst="rect">
            <a:avLst/>
          </a:prstGeom>
        </p:spPr>
      </p:pic>
      <p:pic>
        <p:nvPicPr>
          <p:cNvPr id="193" name="Picture 192">
            <a:extLst>
              <a:ext uri="{FF2B5EF4-FFF2-40B4-BE49-F238E27FC236}">
                <a16:creationId xmlns:a16="http://schemas.microsoft.com/office/drawing/2014/main" id="{ADB7B413-C740-26E6-92BB-A6A3C15677CF}"/>
              </a:ext>
            </a:extLst>
          </p:cNvPr>
          <p:cNvPicPr>
            <a:picLocks noChangeAspect="1"/>
          </p:cNvPicPr>
          <p:nvPr/>
        </p:nvPicPr>
        <p:blipFill>
          <a:blip r:embed="rId39"/>
          <a:stretch>
            <a:fillRect/>
          </a:stretch>
        </p:blipFill>
        <p:spPr>
          <a:xfrm>
            <a:off x="5801759" y="5223837"/>
            <a:ext cx="591363" cy="591363"/>
          </a:xfrm>
          <a:prstGeom prst="rect">
            <a:avLst/>
          </a:prstGeom>
        </p:spPr>
      </p:pic>
      <p:pic>
        <p:nvPicPr>
          <p:cNvPr id="195" name="Picture 194">
            <a:extLst>
              <a:ext uri="{FF2B5EF4-FFF2-40B4-BE49-F238E27FC236}">
                <a16:creationId xmlns:a16="http://schemas.microsoft.com/office/drawing/2014/main" id="{1AAD1A21-2C37-A979-EDCD-3F0FE8BFAB22}"/>
              </a:ext>
            </a:extLst>
          </p:cNvPr>
          <p:cNvPicPr>
            <a:picLocks noChangeAspect="1"/>
          </p:cNvPicPr>
          <p:nvPr/>
        </p:nvPicPr>
        <p:blipFill>
          <a:blip r:embed="rId40"/>
          <a:stretch>
            <a:fillRect/>
          </a:stretch>
        </p:blipFill>
        <p:spPr>
          <a:xfrm>
            <a:off x="7078337" y="5223837"/>
            <a:ext cx="585267" cy="591363"/>
          </a:xfrm>
          <a:prstGeom prst="rect">
            <a:avLst/>
          </a:prstGeom>
        </p:spPr>
      </p:pic>
      <p:pic>
        <p:nvPicPr>
          <p:cNvPr id="197" name="Picture 196">
            <a:extLst>
              <a:ext uri="{FF2B5EF4-FFF2-40B4-BE49-F238E27FC236}">
                <a16:creationId xmlns:a16="http://schemas.microsoft.com/office/drawing/2014/main" id="{F8809860-BE61-28F5-4726-35F9993BFCA8}"/>
              </a:ext>
            </a:extLst>
          </p:cNvPr>
          <p:cNvPicPr>
            <a:picLocks noChangeAspect="1"/>
          </p:cNvPicPr>
          <p:nvPr/>
        </p:nvPicPr>
        <p:blipFill>
          <a:blip r:embed="rId41"/>
          <a:stretch>
            <a:fillRect/>
          </a:stretch>
        </p:blipFill>
        <p:spPr>
          <a:xfrm>
            <a:off x="8351865" y="5223837"/>
            <a:ext cx="585267" cy="591363"/>
          </a:xfrm>
          <a:prstGeom prst="rect">
            <a:avLst/>
          </a:prstGeom>
        </p:spPr>
      </p:pic>
      <p:pic>
        <p:nvPicPr>
          <p:cNvPr id="13" name="Picture 12">
            <a:extLst>
              <a:ext uri="{FF2B5EF4-FFF2-40B4-BE49-F238E27FC236}">
                <a16:creationId xmlns:a16="http://schemas.microsoft.com/office/drawing/2014/main" id="{FE7C2188-E381-92E3-E570-ADA7F54958F0}"/>
              </a:ext>
            </a:extLst>
          </p:cNvPr>
          <p:cNvPicPr>
            <a:picLocks noChangeAspect="1"/>
          </p:cNvPicPr>
          <p:nvPr/>
        </p:nvPicPr>
        <p:blipFill>
          <a:blip r:embed="rId42"/>
          <a:stretch>
            <a:fillRect/>
          </a:stretch>
        </p:blipFill>
        <p:spPr>
          <a:xfrm>
            <a:off x="1956379" y="1835550"/>
            <a:ext cx="591363" cy="585267"/>
          </a:xfrm>
          <a:prstGeom prst="rect">
            <a:avLst/>
          </a:prstGeom>
        </p:spPr>
      </p:pic>
      <p:pic>
        <p:nvPicPr>
          <p:cNvPr id="11" name="Picture 10">
            <a:extLst>
              <a:ext uri="{FF2B5EF4-FFF2-40B4-BE49-F238E27FC236}">
                <a16:creationId xmlns:a16="http://schemas.microsoft.com/office/drawing/2014/main" id="{39B13300-0001-2CE5-371C-50E3FA8E673D}"/>
              </a:ext>
            </a:extLst>
          </p:cNvPr>
          <p:cNvPicPr>
            <a:picLocks noChangeAspect="1"/>
          </p:cNvPicPr>
          <p:nvPr/>
        </p:nvPicPr>
        <p:blipFill>
          <a:blip r:embed="rId43"/>
          <a:stretch>
            <a:fillRect/>
          </a:stretch>
        </p:blipFill>
        <p:spPr>
          <a:xfrm>
            <a:off x="755269" y="1835550"/>
            <a:ext cx="591363" cy="585267"/>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8</a:t>
            </a:fld>
            <a:endParaRPr lang="en-GB"/>
          </a:p>
        </p:txBody>
      </p:sp>
    </p:spTree>
    <p:extLst>
      <p:ext uri="{BB962C8B-B14F-4D97-AF65-F5344CB8AC3E}">
        <p14:creationId xmlns:p14="http://schemas.microsoft.com/office/powerpoint/2010/main" val="3265266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80A964-0545-250D-86C2-2BA455ABBB1B}"/>
              </a:ext>
            </a:extLst>
          </p:cNvPr>
          <p:cNvPicPr>
            <a:picLocks noChangeAspect="1"/>
          </p:cNvPicPr>
          <p:nvPr/>
        </p:nvPicPr>
        <p:blipFill>
          <a:blip r:embed="rId2"/>
          <a:stretch>
            <a:fillRect/>
          </a:stretch>
        </p:blipFill>
        <p:spPr>
          <a:xfrm>
            <a:off x="682851" y="1835550"/>
            <a:ext cx="591363" cy="585267"/>
          </a:xfrm>
          <a:prstGeom prst="rect">
            <a:avLst/>
          </a:prstGeom>
        </p:spPr>
      </p:pic>
      <p:pic>
        <p:nvPicPr>
          <p:cNvPr id="11" name="Picture 10">
            <a:extLst>
              <a:ext uri="{FF2B5EF4-FFF2-40B4-BE49-F238E27FC236}">
                <a16:creationId xmlns:a16="http://schemas.microsoft.com/office/drawing/2014/main" id="{1DD012D1-1272-780C-A40F-D65F03CC77E7}"/>
              </a:ext>
            </a:extLst>
          </p:cNvPr>
          <p:cNvPicPr>
            <a:picLocks noChangeAspect="1"/>
          </p:cNvPicPr>
          <p:nvPr/>
        </p:nvPicPr>
        <p:blipFill>
          <a:blip r:embed="rId3"/>
          <a:stretch>
            <a:fillRect/>
          </a:stretch>
        </p:blipFill>
        <p:spPr>
          <a:xfrm>
            <a:off x="1931586" y="1835550"/>
            <a:ext cx="591363" cy="585267"/>
          </a:xfrm>
          <a:prstGeom prst="rect">
            <a:avLst/>
          </a:prstGeom>
        </p:spPr>
      </p:pic>
      <p:pic>
        <p:nvPicPr>
          <p:cNvPr id="14" name="Picture 13">
            <a:extLst>
              <a:ext uri="{FF2B5EF4-FFF2-40B4-BE49-F238E27FC236}">
                <a16:creationId xmlns:a16="http://schemas.microsoft.com/office/drawing/2014/main" id="{1A8144CD-BA21-868B-30C7-EB8C4C9D120C}"/>
              </a:ext>
            </a:extLst>
          </p:cNvPr>
          <p:cNvPicPr>
            <a:picLocks noChangeAspect="1"/>
          </p:cNvPicPr>
          <p:nvPr/>
        </p:nvPicPr>
        <p:blipFill>
          <a:blip r:embed="rId4"/>
          <a:stretch>
            <a:fillRect/>
          </a:stretch>
        </p:blipFill>
        <p:spPr>
          <a:xfrm>
            <a:off x="3205113" y="1835550"/>
            <a:ext cx="591363" cy="585267"/>
          </a:xfrm>
          <a:prstGeom prst="rect">
            <a:avLst/>
          </a:prstGeom>
        </p:spPr>
      </p:pic>
      <p:pic>
        <p:nvPicPr>
          <p:cNvPr id="16" name="Picture 15">
            <a:extLst>
              <a:ext uri="{FF2B5EF4-FFF2-40B4-BE49-F238E27FC236}">
                <a16:creationId xmlns:a16="http://schemas.microsoft.com/office/drawing/2014/main" id="{3BD71FDF-14C3-DF13-9B06-672DFA23FFFE}"/>
              </a:ext>
            </a:extLst>
          </p:cNvPr>
          <p:cNvPicPr>
            <a:picLocks noChangeAspect="1"/>
          </p:cNvPicPr>
          <p:nvPr/>
        </p:nvPicPr>
        <p:blipFill>
          <a:blip r:embed="rId5"/>
          <a:stretch>
            <a:fillRect/>
          </a:stretch>
        </p:blipFill>
        <p:spPr>
          <a:xfrm>
            <a:off x="4408660" y="1835550"/>
            <a:ext cx="585267" cy="585267"/>
          </a:xfrm>
          <a:prstGeom prst="rect">
            <a:avLst/>
          </a:prstGeom>
        </p:spPr>
      </p:pic>
      <p:pic>
        <p:nvPicPr>
          <p:cNvPr id="19" name="Picture 18">
            <a:extLst>
              <a:ext uri="{FF2B5EF4-FFF2-40B4-BE49-F238E27FC236}">
                <a16:creationId xmlns:a16="http://schemas.microsoft.com/office/drawing/2014/main" id="{DF54DFD7-B6DC-7662-0250-427F0D48B506}"/>
              </a:ext>
            </a:extLst>
          </p:cNvPr>
          <p:cNvPicPr>
            <a:picLocks noChangeAspect="1"/>
          </p:cNvPicPr>
          <p:nvPr/>
        </p:nvPicPr>
        <p:blipFill>
          <a:blip r:embed="rId6"/>
          <a:stretch>
            <a:fillRect/>
          </a:stretch>
        </p:blipFill>
        <p:spPr>
          <a:xfrm>
            <a:off x="682851" y="2683383"/>
            <a:ext cx="591363" cy="585267"/>
          </a:xfrm>
          <a:prstGeom prst="rect">
            <a:avLst/>
          </a:prstGeom>
        </p:spPr>
      </p:pic>
      <p:pic>
        <p:nvPicPr>
          <p:cNvPr id="23" name="Picture 22">
            <a:extLst>
              <a:ext uri="{FF2B5EF4-FFF2-40B4-BE49-F238E27FC236}">
                <a16:creationId xmlns:a16="http://schemas.microsoft.com/office/drawing/2014/main" id="{A0ED2C22-D50F-3FF4-FCC7-8018E24EB434}"/>
              </a:ext>
            </a:extLst>
          </p:cNvPr>
          <p:cNvPicPr>
            <a:picLocks noChangeAspect="1"/>
          </p:cNvPicPr>
          <p:nvPr/>
        </p:nvPicPr>
        <p:blipFill>
          <a:blip r:embed="rId7"/>
          <a:stretch>
            <a:fillRect/>
          </a:stretch>
        </p:blipFill>
        <p:spPr>
          <a:xfrm>
            <a:off x="1931586" y="2683383"/>
            <a:ext cx="591363" cy="585267"/>
          </a:xfrm>
          <a:prstGeom prst="rect">
            <a:avLst/>
          </a:prstGeom>
        </p:spPr>
      </p:pic>
      <p:pic>
        <p:nvPicPr>
          <p:cNvPr id="26" name="Picture 25">
            <a:extLst>
              <a:ext uri="{FF2B5EF4-FFF2-40B4-BE49-F238E27FC236}">
                <a16:creationId xmlns:a16="http://schemas.microsoft.com/office/drawing/2014/main" id="{CC054184-3DC4-6224-6DE5-F99DFC846A82}"/>
              </a:ext>
            </a:extLst>
          </p:cNvPr>
          <p:cNvPicPr>
            <a:picLocks noChangeAspect="1"/>
          </p:cNvPicPr>
          <p:nvPr/>
        </p:nvPicPr>
        <p:blipFill>
          <a:blip r:embed="rId8"/>
          <a:stretch>
            <a:fillRect/>
          </a:stretch>
        </p:blipFill>
        <p:spPr>
          <a:xfrm>
            <a:off x="3205113" y="2683383"/>
            <a:ext cx="591363" cy="585267"/>
          </a:xfrm>
          <a:prstGeom prst="rect">
            <a:avLst/>
          </a:prstGeom>
        </p:spPr>
      </p:pic>
      <p:pic>
        <p:nvPicPr>
          <p:cNvPr id="30" name="Picture 29">
            <a:extLst>
              <a:ext uri="{FF2B5EF4-FFF2-40B4-BE49-F238E27FC236}">
                <a16:creationId xmlns:a16="http://schemas.microsoft.com/office/drawing/2014/main" id="{5C2B1651-FE96-0479-214E-990671ED3562}"/>
              </a:ext>
            </a:extLst>
          </p:cNvPr>
          <p:cNvPicPr>
            <a:picLocks noChangeAspect="1"/>
          </p:cNvPicPr>
          <p:nvPr/>
        </p:nvPicPr>
        <p:blipFill>
          <a:blip r:embed="rId9"/>
          <a:stretch>
            <a:fillRect/>
          </a:stretch>
        </p:blipFill>
        <p:spPr>
          <a:xfrm>
            <a:off x="4408660" y="2683383"/>
            <a:ext cx="585267" cy="585267"/>
          </a:xfrm>
          <a:prstGeom prst="rect">
            <a:avLst/>
          </a:prstGeom>
        </p:spPr>
      </p:pic>
      <p:pic>
        <p:nvPicPr>
          <p:cNvPr id="33" name="Picture 32">
            <a:extLst>
              <a:ext uri="{FF2B5EF4-FFF2-40B4-BE49-F238E27FC236}">
                <a16:creationId xmlns:a16="http://schemas.microsoft.com/office/drawing/2014/main" id="{807D5B7C-E96F-6B50-1829-80D677010A01}"/>
              </a:ext>
            </a:extLst>
          </p:cNvPr>
          <p:cNvPicPr>
            <a:picLocks noChangeAspect="1"/>
          </p:cNvPicPr>
          <p:nvPr/>
        </p:nvPicPr>
        <p:blipFill>
          <a:blip r:embed="rId10"/>
          <a:stretch>
            <a:fillRect/>
          </a:stretch>
        </p:blipFill>
        <p:spPr>
          <a:xfrm>
            <a:off x="682851" y="3528170"/>
            <a:ext cx="591363" cy="591363"/>
          </a:xfrm>
          <a:prstGeom prst="rect">
            <a:avLst/>
          </a:prstGeom>
        </p:spPr>
      </p:pic>
      <p:pic>
        <p:nvPicPr>
          <p:cNvPr id="38" name="Picture 37">
            <a:extLst>
              <a:ext uri="{FF2B5EF4-FFF2-40B4-BE49-F238E27FC236}">
                <a16:creationId xmlns:a16="http://schemas.microsoft.com/office/drawing/2014/main" id="{3B5A2281-89BA-E213-8E1F-53708B15118B}"/>
              </a:ext>
            </a:extLst>
          </p:cNvPr>
          <p:cNvPicPr>
            <a:picLocks noChangeAspect="1"/>
          </p:cNvPicPr>
          <p:nvPr/>
        </p:nvPicPr>
        <p:blipFill>
          <a:blip r:embed="rId11"/>
          <a:stretch>
            <a:fillRect/>
          </a:stretch>
        </p:blipFill>
        <p:spPr>
          <a:xfrm>
            <a:off x="1931586" y="3528170"/>
            <a:ext cx="591363" cy="591363"/>
          </a:xfrm>
          <a:prstGeom prst="rect">
            <a:avLst/>
          </a:prstGeom>
        </p:spPr>
      </p:pic>
      <p:pic>
        <p:nvPicPr>
          <p:cNvPr id="42" name="Picture 41">
            <a:extLst>
              <a:ext uri="{FF2B5EF4-FFF2-40B4-BE49-F238E27FC236}">
                <a16:creationId xmlns:a16="http://schemas.microsoft.com/office/drawing/2014/main" id="{0E3A63AC-F566-E74D-1D1C-CBA518265A13}"/>
              </a:ext>
            </a:extLst>
          </p:cNvPr>
          <p:cNvPicPr>
            <a:picLocks noChangeAspect="1"/>
          </p:cNvPicPr>
          <p:nvPr/>
        </p:nvPicPr>
        <p:blipFill>
          <a:blip r:embed="rId12"/>
          <a:stretch>
            <a:fillRect/>
          </a:stretch>
        </p:blipFill>
        <p:spPr>
          <a:xfrm>
            <a:off x="3205113" y="3528170"/>
            <a:ext cx="591363" cy="591363"/>
          </a:xfrm>
          <a:prstGeom prst="rect">
            <a:avLst/>
          </a:prstGeom>
        </p:spPr>
      </p:pic>
      <p:pic>
        <p:nvPicPr>
          <p:cNvPr id="44" name="Picture 43">
            <a:extLst>
              <a:ext uri="{FF2B5EF4-FFF2-40B4-BE49-F238E27FC236}">
                <a16:creationId xmlns:a16="http://schemas.microsoft.com/office/drawing/2014/main" id="{2AFB69F2-7565-94DD-D0CC-41846BF08395}"/>
              </a:ext>
            </a:extLst>
          </p:cNvPr>
          <p:cNvPicPr>
            <a:picLocks noChangeAspect="1"/>
          </p:cNvPicPr>
          <p:nvPr/>
        </p:nvPicPr>
        <p:blipFill>
          <a:blip r:embed="rId13"/>
          <a:stretch>
            <a:fillRect/>
          </a:stretch>
        </p:blipFill>
        <p:spPr>
          <a:xfrm>
            <a:off x="4408660" y="3528170"/>
            <a:ext cx="585267" cy="591363"/>
          </a:xfrm>
          <a:prstGeom prst="rect">
            <a:avLst/>
          </a:prstGeom>
        </p:spPr>
      </p:pic>
      <p:pic>
        <p:nvPicPr>
          <p:cNvPr id="48" name="Picture 47">
            <a:extLst>
              <a:ext uri="{FF2B5EF4-FFF2-40B4-BE49-F238E27FC236}">
                <a16:creationId xmlns:a16="http://schemas.microsoft.com/office/drawing/2014/main" id="{D31E82F2-CDD6-3727-EE00-12242E381FA8}"/>
              </a:ext>
            </a:extLst>
          </p:cNvPr>
          <p:cNvPicPr>
            <a:picLocks noChangeAspect="1"/>
          </p:cNvPicPr>
          <p:nvPr/>
        </p:nvPicPr>
        <p:blipFill>
          <a:blip r:embed="rId14"/>
          <a:stretch>
            <a:fillRect/>
          </a:stretch>
        </p:blipFill>
        <p:spPr>
          <a:xfrm>
            <a:off x="682851" y="4376003"/>
            <a:ext cx="591363" cy="591363"/>
          </a:xfrm>
          <a:prstGeom prst="rect">
            <a:avLst/>
          </a:prstGeom>
        </p:spPr>
      </p:pic>
      <p:pic>
        <p:nvPicPr>
          <p:cNvPr id="52" name="Picture 51">
            <a:extLst>
              <a:ext uri="{FF2B5EF4-FFF2-40B4-BE49-F238E27FC236}">
                <a16:creationId xmlns:a16="http://schemas.microsoft.com/office/drawing/2014/main" id="{B6230ED4-43BD-C8FD-10F4-EAEB42E33346}"/>
              </a:ext>
            </a:extLst>
          </p:cNvPr>
          <p:cNvPicPr>
            <a:picLocks noChangeAspect="1"/>
          </p:cNvPicPr>
          <p:nvPr/>
        </p:nvPicPr>
        <p:blipFill>
          <a:blip r:embed="rId15"/>
          <a:stretch>
            <a:fillRect/>
          </a:stretch>
        </p:blipFill>
        <p:spPr>
          <a:xfrm>
            <a:off x="6344876" y="1835550"/>
            <a:ext cx="585267" cy="585267"/>
          </a:xfrm>
          <a:prstGeom prst="rect">
            <a:avLst/>
          </a:prstGeom>
        </p:spPr>
      </p:pic>
      <p:pic>
        <p:nvPicPr>
          <p:cNvPr id="56" name="Picture 55">
            <a:extLst>
              <a:ext uri="{FF2B5EF4-FFF2-40B4-BE49-F238E27FC236}">
                <a16:creationId xmlns:a16="http://schemas.microsoft.com/office/drawing/2014/main" id="{2780F515-7F6A-1E12-35D4-B4B5C7933782}"/>
              </a:ext>
            </a:extLst>
          </p:cNvPr>
          <p:cNvPicPr>
            <a:picLocks noChangeAspect="1"/>
          </p:cNvPicPr>
          <p:nvPr/>
        </p:nvPicPr>
        <p:blipFill>
          <a:blip r:embed="rId16"/>
          <a:stretch>
            <a:fillRect/>
          </a:stretch>
        </p:blipFill>
        <p:spPr>
          <a:xfrm>
            <a:off x="7615357" y="1835550"/>
            <a:ext cx="591363" cy="585267"/>
          </a:xfrm>
          <a:prstGeom prst="rect">
            <a:avLst/>
          </a:prstGeom>
        </p:spPr>
      </p:pic>
      <p:pic>
        <p:nvPicPr>
          <p:cNvPr id="58" name="Picture 57">
            <a:extLst>
              <a:ext uri="{FF2B5EF4-FFF2-40B4-BE49-F238E27FC236}">
                <a16:creationId xmlns:a16="http://schemas.microsoft.com/office/drawing/2014/main" id="{C18DF7E2-12A1-4FCC-73BF-E8BB54222801}"/>
              </a:ext>
            </a:extLst>
          </p:cNvPr>
          <p:cNvPicPr>
            <a:picLocks noChangeAspect="1"/>
          </p:cNvPicPr>
          <p:nvPr/>
        </p:nvPicPr>
        <p:blipFill>
          <a:blip r:embed="rId17"/>
          <a:stretch>
            <a:fillRect/>
          </a:stretch>
        </p:blipFill>
        <p:spPr>
          <a:xfrm>
            <a:off x="8888886" y="1835550"/>
            <a:ext cx="591363" cy="585267"/>
          </a:xfrm>
          <a:prstGeom prst="rect">
            <a:avLst/>
          </a:prstGeom>
        </p:spPr>
      </p:pic>
      <p:pic>
        <p:nvPicPr>
          <p:cNvPr id="61" name="Picture 60">
            <a:extLst>
              <a:ext uri="{FF2B5EF4-FFF2-40B4-BE49-F238E27FC236}">
                <a16:creationId xmlns:a16="http://schemas.microsoft.com/office/drawing/2014/main" id="{F2415491-A1A2-F669-5705-450E04962D3A}"/>
              </a:ext>
            </a:extLst>
          </p:cNvPr>
          <p:cNvPicPr>
            <a:picLocks noChangeAspect="1"/>
          </p:cNvPicPr>
          <p:nvPr/>
        </p:nvPicPr>
        <p:blipFill>
          <a:blip r:embed="rId18"/>
          <a:stretch>
            <a:fillRect/>
          </a:stretch>
        </p:blipFill>
        <p:spPr>
          <a:xfrm>
            <a:off x="6344876" y="2683383"/>
            <a:ext cx="585267" cy="585267"/>
          </a:xfrm>
          <a:prstGeom prst="rect">
            <a:avLst/>
          </a:prstGeom>
        </p:spPr>
      </p:pic>
      <p:pic>
        <p:nvPicPr>
          <p:cNvPr id="128" name="Picture 127">
            <a:extLst>
              <a:ext uri="{FF2B5EF4-FFF2-40B4-BE49-F238E27FC236}">
                <a16:creationId xmlns:a16="http://schemas.microsoft.com/office/drawing/2014/main" id="{85984A3F-6CEE-D038-F4D3-4549098ACDA0}"/>
              </a:ext>
            </a:extLst>
          </p:cNvPr>
          <p:cNvPicPr>
            <a:picLocks noChangeAspect="1"/>
          </p:cNvPicPr>
          <p:nvPr/>
        </p:nvPicPr>
        <p:blipFill>
          <a:blip r:embed="rId19"/>
          <a:stretch>
            <a:fillRect/>
          </a:stretch>
        </p:blipFill>
        <p:spPr>
          <a:xfrm>
            <a:off x="7615357" y="2683383"/>
            <a:ext cx="591363" cy="585267"/>
          </a:xfrm>
          <a:prstGeom prst="rect">
            <a:avLst/>
          </a:prstGeom>
        </p:spPr>
      </p:pic>
      <p:pic>
        <p:nvPicPr>
          <p:cNvPr id="130" name="Picture 129">
            <a:extLst>
              <a:ext uri="{FF2B5EF4-FFF2-40B4-BE49-F238E27FC236}">
                <a16:creationId xmlns:a16="http://schemas.microsoft.com/office/drawing/2014/main" id="{5C285978-7864-321F-9A87-A04F09620E34}"/>
              </a:ext>
            </a:extLst>
          </p:cNvPr>
          <p:cNvPicPr>
            <a:picLocks noChangeAspect="1"/>
          </p:cNvPicPr>
          <p:nvPr/>
        </p:nvPicPr>
        <p:blipFill>
          <a:blip r:embed="rId20"/>
          <a:stretch>
            <a:fillRect/>
          </a:stretch>
        </p:blipFill>
        <p:spPr>
          <a:xfrm>
            <a:off x="8888886" y="2683383"/>
            <a:ext cx="591363" cy="585267"/>
          </a:xfrm>
          <a:prstGeom prst="rect">
            <a:avLst/>
          </a:prstGeom>
        </p:spPr>
      </p:pic>
      <p:pic>
        <p:nvPicPr>
          <p:cNvPr id="133" name="Picture 132">
            <a:extLst>
              <a:ext uri="{FF2B5EF4-FFF2-40B4-BE49-F238E27FC236}">
                <a16:creationId xmlns:a16="http://schemas.microsoft.com/office/drawing/2014/main" id="{824FD146-9338-985E-95B1-AE254072C528}"/>
              </a:ext>
            </a:extLst>
          </p:cNvPr>
          <p:cNvPicPr>
            <a:picLocks noChangeAspect="1"/>
          </p:cNvPicPr>
          <p:nvPr/>
        </p:nvPicPr>
        <p:blipFill>
          <a:blip r:embed="rId21"/>
          <a:stretch>
            <a:fillRect/>
          </a:stretch>
        </p:blipFill>
        <p:spPr>
          <a:xfrm>
            <a:off x="6344876" y="3528170"/>
            <a:ext cx="585267" cy="591363"/>
          </a:xfrm>
          <a:prstGeom prst="rect">
            <a:avLst/>
          </a:prstGeom>
        </p:spPr>
      </p:pic>
      <p:pic>
        <p:nvPicPr>
          <p:cNvPr id="136" name="Picture 135">
            <a:extLst>
              <a:ext uri="{FF2B5EF4-FFF2-40B4-BE49-F238E27FC236}">
                <a16:creationId xmlns:a16="http://schemas.microsoft.com/office/drawing/2014/main" id="{13132172-A82D-1F55-020D-C799106FE007}"/>
              </a:ext>
            </a:extLst>
          </p:cNvPr>
          <p:cNvPicPr>
            <a:picLocks noChangeAspect="1"/>
          </p:cNvPicPr>
          <p:nvPr/>
        </p:nvPicPr>
        <p:blipFill>
          <a:blip r:embed="rId22"/>
          <a:stretch>
            <a:fillRect/>
          </a:stretch>
        </p:blipFill>
        <p:spPr>
          <a:xfrm>
            <a:off x="7615357" y="3528170"/>
            <a:ext cx="591363" cy="591363"/>
          </a:xfrm>
          <a:prstGeom prst="rect">
            <a:avLst/>
          </a:prstGeom>
        </p:spPr>
      </p:pic>
      <p:pic>
        <p:nvPicPr>
          <p:cNvPr id="138" name="Picture 137">
            <a:extLst>
              <a:ext uri="{FF2B5EF4-FFF2-40B4-BE49-F238E27FC236}">
                <a16:creationId xmlns:a16="http://schemas.microsoft.com/office/drawing/2014/main" id="{5B78356F-1AE7-C7F1-3E3C-10568AE8902E}"/>
              </a:ext>
            </a:extLst>
          </p:cNvPr>
          <p:cNvPicPr>
            <a:picLocks noChangeAspect="1"/>
          </p:cNvPicPr>
          <p:nvPr/>
        </p:nvPicPr>
        <p:blipFill>
          <a:blip r:embed="rId23"/>
          <a:stretch>
            <a:fillRect/>
          </a:stretch>
        </p:blipFill>
        <p:spPr>
          <a:xfrm>
            <a:off x="8888886" y="3528170"/>
            <a:ext cx="591363" cy="591363"/>
          </a:xfrm>
          <a:prstGeom prst="rect">
            <a:avLst/>
          </a:prstGeom>
        </p:spPr>
      </p:pic>
      <p:pic>
        <p:nvPicPr>
          <p:cNvPr id="141" name="Picture 140">
            <a:extLst>
              <a:ext uri="{FF2B5EF4-FFF2-40B4-BE49-F238E27FC236}">
                <a16:creationId xmlns:a16="http://schemas.microsoft.com/office/drawing/2014/main" id="{A447C549-C9CD-096A-2FC0-E784B6106439}"/>
              </a:ext>
            </a:extLst>
          </p:cNvPr>
          <p:cNvPicPr>
            <a:picLocks noChangeAspect="1"/>
          </p:cNvPicPr>
          <p:nvPr/>
        </p:nvPicPr>
        <p:blipFill>
          <a:blip r:embed="rId24"/>
          <a:stretch>
            <a:fillRect/>
          </a:stretch>
        </p:blipFill>
        <p:spPr>
          <a:xfrm>
            <a:off x="6307686" y="4376003"/>
            <a:ext cx="591363" cy="591363"/>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9</a:t>
            </a:fld>
            <a:endParaRPr lang="en-GB"/>
          </a:p>
        </p:txBody>
      </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749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3</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26B8694-B305-6C63-5B3F-B6F847FB8CB7}"/>
              </a:ext>
            </a:extLst>
          </p:cNvPr>
          <p:cNvPicPr>
            <a:picLocks noChangeAspect="1"/>
          </p:cNvPicPr>
          <p:nvPr/>
        </p:nvPicPr>
        <p:blipFill>
          <a:blip r:embed="rId2"/>
          <a:stretch>
            <a:fillRect/>
          </a:stretch>
        </p:blipFill>
        <p:spPr>
          <a:xfrm>
            <a:off x="1210279" y="1684449"/>
            <a:ext cx="9771441" cy="1492859"/>
          </a:xfrm>
          <a:prstGeom prst="rect">
            <a:avLst/>
          </a:prstGeom>
        </p:spPr>
      </p:pic>
      <p:pic>
        <p:nvPicPr>
          <p:cNvPr id="7" name="Picture 6">
            <a:extLst>
              <a:ext uri="{FF2B5EF4-FFF2-40B4-BE49-F238E27FC236}">
                <a16:creationId xmlns:a16="http://schemas.microsoft.com/office/drawing/2014/main" id="{B937609F-A5A5-03DF-6762-06CA2F96B5CF}"/>
              </a:ext>
            </a:extLst>
          </p:cNvPr>
          <p:cNvPicPr>
            <a:picLocks noChangeAspect="1"/>
          </p:cNvPicPr>
          <p:nvPr/>
        </p:nvPicPr>
        <p:blipFill rotWithShape="1">
          <a:blip r:embed="rId3"/>
          <a:srcRect l="20620" r="21168"/>
          <a:stretch/>
        </p:blipFill>
        <p:spPr>
          <a:xfrm>
            <a:off x="1608319" y="3423642"/>
            <a:ext cx="8975359" cy="2120033"/>
          </a:xfrm>
          <a:prstGeom prst="rect">
            <a:avLst/>
          </a:prstGeom>
        </p:spPr>
      </p:pic>
      <p:cxnSp>
        <p:nvCxnSpPr>
          <p:cNvPr id="8" name="Straight Connector 7">
            <a:extLst>
              <a:ext uri="{FF2B5EF4-FFF2-40B4-BE49-F238E27FC236}">
                <a16:creationId xmlns:a16="http://schemas.microsoft.com/office/drawing/2014/main" id="{DBDC5E46-1B96-A1CE-69F4-1D39B4B49D8E}"/>
              </a:ext>
            </a:extLst>
          </p:cNvPr>
          <p:cNvCxnSpPr>
            <a:cxnSpLocks/>
          </p:cNvCxnSpPr>
          <p:nvPr/>
        </p:nvCxnSpPr>
        <p:spPr>
          <a:xfrm>
            <a:off x="5116582" y="4109013"/>
            <a:ext cx="488394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C7882-37E8-3432-F06F-3EE7E727A657}"/>
              </a:ext>
            </a:extLst>
          </p:cNvPr>
          <p:cNvCxnSpPr>
            <a:cxnSpLocks/>
          </p:cNvCxnSpPr>
          <p:nvPr/>
        </p:nvCxnSpPr>
        <p:spPr>
          <a:xfrm>
            <a:off x="1796577" y="4483658"/>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EDC31EC-BEA7-2812-7BC1-2558A2EBB982}"/>
              </a:ext>
            </a:extLst>
          </p:cNvPr>
          <p:cNvCxnSpPr>
            <a:cxnSpLocks/>
          </p:cNvCxnSpPr>
          <p:nvPr/>
        </p:nvCxnSpPr>
        <p:spPr>
          <a:xfrm>
            <a:off x="9019180" y="4821253"/>
            <a:ext cx="1143392"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6C397DD-03FC-1DD4-0273-0CACE0E627B2}"/>
              </a:ext>
            </a:extLst>
          </p:cNvPr>
          <p:cNvCxnSpPr>
            <a:cxnSpLocks/>
          </p:cNvCxnSpPr>
          <p:nvPr/>
        </p:nvCxnSpPr>
        <p:spPr>
          <a:xfrm>
            <a:off x="1805543" y="5168493"/>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5559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7A9551-BB49-1E97-7275-3D6CF1B6E2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9592" y="2681697"/>
            <a:ext cx="588640" cy="588640"/>
          </a:xfrm>
          <a:prstGeom prst="rect">
            <a:avLst/>
          </a:prstGeom>
        </p:spPr>
      </p:pic>
      <p:pic>
        <p:nvPicPr>
          <p:cNvPr id="202" name="Graphic 201">
            <a:extLst>
              <a:ext uri="{FF2B5EF4-FFF2-40B4-BE49-F238E27FC236}">
                <a16:creationId xmlns:a16="http://schemas.microsoft.com/office/drawing/2014/main" id="{197867AD-BC3F-9B9D-D318-A1C100C56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34976" y="3529531"/>
            <a:ext cx="588640" cy="588640"/>
          </a:xfrm>
          <a:prstGeom prst="rect">
            <a:avLst/>
          </a:prstGeom>
        </p:spPr>
      </p:pic>
      <p:pic>
        <p:nvPicPr>
          <p:cNvPr id="200" name="Graphic 199">
            <a:extLst>
              <a:ext uri="{FF2B5EF4-FFF2-40B4-BE49-F238E27FC236}">
                <a16:creationId xmlns:a16="http://schemas.microsoft.com/office/drawing/2014/main" id="{EAFD4D32-5551-7C10-BEED-27B770CC1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50179" y="3529531"/>
            <a:ext cx="588640" cy="588640"/>
          </a:xfrm>
          <a:prstGeom prst="rect">
            <a:avLst/>
          </a:prstGeom>
        </p:spPr>
      </p:pic>
      <p:pic>
        <p:nvPicPr>
          <p:cNvPr id="198" name="Graphic 197">
            <a:extLst>
              <a:ext uri="{FF2B5EF4-FFF2-40B4-BE49-F238E27FC236}">
                <a16:creationId xmlns:a16="http://schemas.microsoft.com/office/drawing/2014/main" id="{E6737848-EF2C-AAA6-3C10-24FDA296DA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1857" y="1833863"/>
            <a:ext cx="588640" cy="588640"/>
          </a:xfrm>
          <a:prstGeom prst="rect">
            <a:avLst/>
          </a:prstGeom>
        </p:spPr>
      </p:pic>
      <p:pic>
        <p:nvPicPr>
          <p:cNvPr id="196" name="Graphic 195">
            <a:extLst>
              <a:ext uri="{FF2B5EF4-FFF2-40B4-BE49-F238E27FC236}">
                <a16:creationId xmlns:a16="http://schemas.microsoft.com/office/drawing/2014/main" id="{D22A7D79-5E5F-B1C6-50C3-8416F891D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76650" y="2681697"/>
            <a:ext cx="588640" cy="588640"/>
          </a:xfrm>
          <a:prstGeom prst="rect">
            <a:avLst/>
          </a:prstGeom>
        </p:spPr>
      </p:pic>
      <p:pic>
        <p:nvPicPr>
          <p:cNvPr id="194" name="Graphic 193">
            <a:extLst>
              <a:ext uri="{FF2B5EF4-FFF2-40B4-BE49-F238E27FC236}">
                <a16:creationId xmlns:a16="http://schemas.microsoft.com/office/drawing/2014/main" id="{F4674C61-5B73-ACA6-1867-295E049AB4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9005" y="5225199"/>
            <a:ext cx="588640" cy="588640"/>
          </a:xfrm>
          <a:prstGeom prst="rect">
            <a:avLst/>
          </a:prstGeom>
        </p:spPr>
      </p:pic>
      <p:pic>
        <p:nvPicPr>
          <p:cNvPr id="192" name="Graphic 191">
            <a:extLst>
              <a:ext uri="{FF2B5EF4-FFF2-40B4-BE49-F238E27FC236}">
                <a16:creationId xmlns:a16="http://schemas.microsoft.com/office/drawing/2014/main" id="{5B20ECC3-1812-81BA-C7AC-5E388A0C49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50179" y="2681697"/>
            <a:ext cx="588640" cy="588640"/>
          </a:xfrm>
          <a:prstGeom prst="rect">
            <a:avLst/>
          </a:prstGeom>
        </p:spPr>
      </p:pic>
      <p:pic>
        <p:nvPicPr>
          <p:cNvPr id="190" name="Graphic 189">
            <a:extLst>
              <a:ext uri="{FF2B5EF4-FFF2-40B4-BE49-F238E27FC236}">
                <a16:creationId xmlns:a16="http://schemas.microsoft.com/office/drawing/2014/main" id="{E0B0A668-8047-08AB-BCB6-7D0AC67D5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6383" y="1833863"/>
            <a:ext cx="588640" cy="588640"/>
          </a:xfrm>
          <a:prstGeom prst="rect">
            <a:avLst/>
          </a:prstGeom>
        </p:spPr>
      </p:pic>
      <p:pic>
        <p:nvPicPr>
          <p:cNvPr id="188" name="Graphic 187">
            <a:extLst>
              <a:ext uri="{FF2B5EF4-FFF2-40B4-BE49-F238E27FC236}">
                <a16:creationId xmlns:a16="http://schemas.microsoft.com/office/drawing/2014/main" id="{073D615A-0EEF-53AD-E31A-BE497ADCD1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03121" y="3529531"/>
            <a:ext cx="588640" cy="588640"/>
          </a:xfrm>
          <a:prstGeom prst="rect">
            <a:avLst/>
          </a:prstGeom>
        </p:spPr>
      </p:pic>
      <p:pic>
        <p:nvPicPr>
          <p:cNvPr id="186" name="Graphic 185">
            <a:extLst>
              <a:ext uri="{FF2B5EF4-FFF2-40B4-BE49-F238E27FC236}">
                <a16:creationId xmlns:a16="http://schemas.microsoft.com/office/drawing/2014/main" id="{D1C7BC5D-7837-D34B-9D1E-9417E689CE5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56063" y="5225199"/>
            <a:ext cx="588640" cy="588640"/>
          </a:xfrm>
          <a:prstGeom prst="rect">
            <a:avLst/>
          </a:prstGeom>
        </p:spPr>
      </p:pic>
      <p:pic>
        <p:nvPicPr>
          <p:cNvPr id="184" name="Graphic 183">
            <a:extLst>
              <a:ext uri="{FF2B5EF4-FFF2-40B4-BE49-F238E27FC236}">
                <a16:creationId xmlns:a16="http://schemas.microsoft.com/office/drawing/2014/main" id="{F6AE3676-FB58-EE65-6E0A-9FA7CA994EF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256063" y="3529531"/>
            <a:ext cx="588640" cy="588640"/>
          </a:xfrm>
          <a:prstGeom prst="rect">
            <a:avLst/>
          </a:prstGeom>
        </p:spPr>
      </p:pic>
      <p:pic>
        <p:nvPicPr>
          <p:cNvPr id="182" name="Graphic 181">
            <a:extLst>
              <a:ext uri="{FF2B5EF4-FFF2-40B4-BE49-F238E27FC236}">
                <a16:creationId xmlns:a16="http://schemas.microsoft.com/office/drawing/2014/main" id="{F28B5FD5-D422-B726-4CA8-27986FCB54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09005" y="3529531"/>
            <a:ext cx="588640" cy="588640"/>
          </a:xfrm>
          <a:prstGeom prst="rect">
            <a:avLst/>
          </a:prstGeom>
        </p:spPr>
      </p:pic>
      <p:pic>
        <p:nvPicPr>
          <p:cNvPr id="180" name="Graphic 179">
            <a:extLst>
              <a:ext uri="{FF2B5EF4-FFF2-40B4-BE49-F238E27FC236}">
                <a16:creationId xmlns:a16="http://schemas.microsoft.com/office/drawing/2014/main" id="{12EE8A4C-76A4-49BE-679C-7EA190A4277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9592" y="4377365"/>
            <a:ext cx="588640" cy="588640"/>
          </a:xfrm>
          <a:prstGeom prst="rect">
            <a:avLst/>
          </a:prstGeom>
        </p:spPr>
      </p:pic>
      <p:pic>
        <p:nvPicPr>
          <p:cNvPr id="178" name="Graphic 177">
            <a:extLst>
              <a:ext uri="{FF2B5EF4-FFF2-40B4-BE49-F238E27FC236}">
                <a16:creationId xmlns:a16="http://schemas.microsoft.com/office/drawing/2014/main" id="{44FC9BE7-C318-94D1-1742-356A49EE0F7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256063" y="4377365"/>
            <a:ext cx="588640" cy="588640"/>
          </a:xfrm>
          <a:prstGeom prst="rect">
            <a:avLst/>
          </a:prstGeom>
        </p:spPr>
      </p:pic>
      <p:pic>
        <p:nvPicPr>
          <p:cNvPr id="176" name="Graphic 175">
            <a:extLst>
              <a:ext uri="{FF2B5EF4-FFF2-40B4-BE49-F238E27FC236}">
                <a16:creationId xmlns:a16="http://schemas.microsoft.com/office/drawing/2014/main" id="{8ACE88E3-4E95-9280-C118-F2708347DDC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525883" y="4377365"/>
            <a:ext cx="588640" cy="588640"/>
          </a:xfrm>
          <a:prstGeom prst="rect">
            <a:avLst/>
          </a:prstGeom>
        </p:spPr>
      </p:pic>
      <p:pic>
        <p:nvPicPr>
          <p:cNvPr id="172" name="Graphic 171">
            <a:extLst>
              <a:ext uri="{FF2B5EF4-FFF2-40B4-BE49-F238E27FC236}">
                <a16:creationId xmlns:a16="http://schemas.microsoft.com/office/drawing/2014/main" id="{C2FBA11E-404D-8EB0-0150-BEE028D91D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50179" y="5225199"/>
            <a:ext cx="588640" cy="588640"/>
          </a:xfrm>
          <a:prstGeom prst="rect">
            <a:avLst/>
          </a:prstGeom>
        </p:spPr>
      </p:pic>
      <p:pic>
        <p:nvPicPr>
          <p:cNvPr id="162" name="Graphic 161">
            <a:extLst>
              <a:ext uri="{FF2B5EF4-FFF2-40B4-BE49-F238E27FC236}">
                <a16:creationId xmlns:a16="http://schemas.microsoft.com/office/drawing/2014/main" id="{25C9D585-E691-D0D8-BDF7-1C51C0AC8B3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03121" y="2681697"/>
            <a:ext cx="588640" cy="588640"/>
          </a:xfrm>
          <a:prstGeom prst="rect">
            <a:avLst/>
          </a:prstGeom>
        </p:spPr>
      </p:pic>
      <p:pic>
        <p:nvPicPr>
          <p:cNvPr id="157" name="Graphic 156">
            <a:extLst>
              <a:ext uri="{FF2B5EF4-FFF2-40B4-BE49-F238E27FC236}">
                <a16:creationId xmlns:a16="http://schemas.microsoft.com/office/drawing/2014/main" id="{00983AD3-403A-2E86-F6D8-2B49FB2305D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4529592" y="5225199"/>
            <a:ext cx="588640" cy="588640"/>
          </a:xfrm>
          <a:prstGeom prst="rect">
            <a:avLst/>
          </a:prstGeom>
        </p:spPr>
      </p:pic>
      <p:pic>
        <p:nvPicPr>
          <p:cNvPr id="152" name="Graphic 151">
            <a:extLst>
              <a:ext uri="{FF2B5EF4-FFF2-40B4-BE49-F238E27FC236}">
                <a16:creationId xmlns:a16="http://schemas.microsoft.com/office/drawing/2014/main" id="{D67C722A-4FAD-D698-87F1-39BCB527FF1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5803121" y="5225199"/>
            <a:ext cx="588640" cy="588640"/>
          </a:xfrm>
          <a:prstGeom prst="rect">
            <a:avLst/>
          </a:prstGeom>
        </p:spPr>
      </p:pic>
      <p:pic>
        <p:nvPicPr>
          <p:cNvPr id="149" name="Graphic 148">
            <a:extLst>
              <a:ext uri="{FF2B5EF4-FFF2-40B4-BE49-F238E27FC236}">
                <a16:creationId xmlns:a16="http://schemas.microsoft.com/office/drawing/2014/main" id="{BDDA0AC6-DC81-7FB0-B96B-C8B8B779D5A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4211" y="1833863"/>
            <a:ext cx="613433" cy="588640"/>
          </a:xfrm>
          <a:prstGeom prst="rect">
            <a:avLst/>
          </a:prstGeom>
        </p:spPr>
      </p:pic>
      <p:pic>
        <p:nvPicPr>
          <p:cNvPr id="145" name="Graphic 144">
            <a:extLst>
              <a:ext uri="{FF2B5EF4-FFF2-40B4-BE49-F238E27FC236}">
                <a16:creationId xmlns:a16="http://schemas.microsoft.com/office/drawing/2014/main" id="{53197E25-AA22-82BE-1A35-FE3F13B4C92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525883" y="3529531"/>
            <a:ext cx="588640" cy="588640"/>
          </a:xfrm>
          <a:prstGeom prst="rect">
            <a:avLst/>
          </a:prstGeom>
        </p:spPr>
      </p:pic>
      <p:pic>
        <p:nvPicPr>
          <p:cNvPr id="141" name="Graphic 140">
            <a:extLst>
              <a:ext uri="{FF2B5EF4-FFF2-40B4-BE49-F238E27FC236}">
                <a16:creationId xmlns:a16="http://schemas.microsoft.com/office/drawing/2014/main" id="{D25BA4AB-8AE6-A0D6-7DC9-7FDDB5D4CB5B}"/>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778328" y="1833863"/>
            <a:ext cx="588640" cy="588640"/>
          </a:xfrm>
          <a:prstGeom prst="rect">
            <a:avLst/>
          </a:prstGeom>
        </p:spPr>
      </p:pic>
      <p:pic>
        <p:nvPicPr>
          <p:cNvPr id="137" name="Graphic 136">
            <a:extLst>
              <a:ext uri="{FF2B5EF4-FFF2-40B4-BE49-F238E27FC236}">
                <a16:creationId xmlns:a16="http://schemas.microsoft.com/office/drawing/2014/main" id="{25292A60-DB74-D5E9-0F22-46661F946858}"/>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4504799" y="1833863"/>
            <a:ext cx="588640" cy="588640"/>
          </a:xfrm>
          <a:prstGeom prst="rect">
            <a:avLst/>
          </a:prstGeom>
        </p:spPr>
      </p:pic>
      <p:pic>
        <p:nvPicPr>
          <p:cNvPr id="133" name="Graphic 132">
            <a:extLst>
              <a:ext uri="{FF2B5EF4-FFF2-40B4-BE49-F238E27FC236}">
                <a16:creationId xmlns:a16="http://schemas.microsoft.com/office/drawing/2014/main" id="{7CE8EC9D-F41D-113D-9B72-382F623EEAD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76650" y="4377365"/>
            <a:ext cx="588640" cy="588640"/>
          </a:xfrm>
          <a:prstGeom prst="rect">
            <a:avLst/>
          </a:prstGeom>
        </p:spPr>
      </p:pic>
      <p:pic>
        <p:nvPicPr>
          <p:cNvPr id="129" name="Graphic 128">
            <a:extLst>
              <a:ext uri="{FF2B5EF4-FFF2-40B4-BE49-F238E27FC236}">
                <a16:creationId xmlns:a16="http://schemas.microsoft.com/office/drawing/2014/main" id="{22466729-F9F2-151C-44F5-29833846FD5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076650" y="5225199"/>
            <a:ext cx="588640" cy="588640"/>
          </a:xfrm>
          <a:prstGeom prst="rect">
            <a:avLst/>
          </a:prstGeom>
        </p:spPr>
      </p:pic>
      <p:pic>
        <p:nvPicPr>
          <p:cNvPr id="61" name="Graphic 60">
            <a:extLst>
              <a:ext uri="{FF2B5EF4-FFF2-40B4-BE49-F238E27FC236}">
                <a16:creationId xmlns:a16="http://schemas.microsoft.com/office/drawing/2014/main" id="{CA398862-C03C-C770-CEE1-60F3D5102BD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3231270" y="1833863"/>
            <a:ext cx="588640" cy="588640"/>
          </a:xfrm>
          <a:prstGeom prst="rect">
            <a:avLst/>
          </a:prstGeom>
        </p:spPr>
      </p:pic>
      <p:pic>
        <p:nvPicPr>
          <p:cNvPr id="57" name="Graphic 56">
            <a:extLst>
              <a:ext uri="{FF2B5EF4-FFF2-40B4-BE49-F238E27FC236}">
                <a16:creationId xmlns:a16="http://schemas.microsoft.com/office/drawing/2014/main" id="{5E20F6FD-84D0-F52E-FDB5-7C889A65856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325383" y="1833863"/>
            <a:ext cx="588640" cy="588640"/>
          </a:xfrm>
          <a:prstGeom prst="rect">
            <a:avLst/>
          </a:prstGeom>
        </p:spPr>
      </p:pic>
      <p:pic>
        <p:nvPicPr>
          <p:cNvPr id="53" name="Graphic 52">
            <a:extLst>
              <a:ext uri="{FF2B5EF4-FFF2-40B4-BE49-F238E27FC236}">
                <a16:creationId xmlns:a16="http://schemas.microsoft.com/office/drawing/2014/main" id="{49658A72-275F-4B85-11A3-0A4D2FCE17AE}"/>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076650" y="3529531"/>
            <a:ext cx="588640" cy="588640"/>
          </a:xfrm>
          <a:prstGeom prst="rect">
            <a:avLst/>
          </a:prstGeom>
        </p:spPr>
      </p:pic>
      <p:pic>
        <p:nvPicPr>
          <p:cNvPr id="51" name="Graphic 50">
            <a:extLst>
              <a:ext uri="{FF2B5EF4-FFF2-40B4-BE49-F238E27FC236}">
                <a16:creationId xmlns:a16="http://schemas.microsoft.com/office/drawing/2014/main" id="{CFE1EC45-0A51-E6D6-D1BD-FB4A488B73F0}"/>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8350179" y="4377365"/>
            <a:ext cx="588640" cy="588640"/>
          </a:xfrm>
          <a:prstGeom prst="rect">
            <a:avLst/>
          </a:prstGeom>
        </p:spPr>
      </p:pic>
      <p:pic>
        <p:nvPicPr>
          <p:cNvPr id="43" name="Graphic 42">
            <a:extLst>
              <a:ext uri="{FF2B5EF4-FFF2-40B4-BE49-F238E27FC236}">
                <a16:creationId xmlns:a16="http://schemas.microsoft.com/office/drawing/2014/main" id="{75232E0A-F974-7FAD-30BA-233B81B253DC}"/>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10726383" y="2681697"/>
            <a:ext cx="588640" cy="588640"/>
          </a:xfrm>
          <a:prstGeom prst="rect">
            <a:avLst/>
          </a:prstGeom>
        </p:spPr>
      </p:pic>
      <p:pic>
        <p:nvPicPr>
          <p:cNvPr id="39" name="Graphic 38">
            <a:extLst>
              <a:ext uri="{FF2B5EF4-FFF2-40B4-BE49-F238E27FC236}">
                <a16:creationId xmlns:a16="http://schemas.microsoft.com/office/drawing/2014/main" id="{1E95D9A2-737D-0903-9197-252B0EDF416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1982534" y="3529531"/>
            <a:ext cx="588640" cy="588640"/>
          </a:xfrm>
          <a:prstGeom prst="rect">
            <a:avLst/>
          </a:prstGeom>
        </p:spPr>
      </p:pic>
      <p:pic>
        <p:nvPicPr>
          <p:cNvPr id="35" name="Graphic 34">
            <a:extLst>
              <a:ext uri="{FF2B5EF4-FFF2-40B4-BE49-F238E27FC236}">
                <a16:creationId xmlns:a16="http://schemas.microsoft.com/office/drawing/2014/main" id="{13F2DEDF-610A-0ADA-A27E-627EBF8233F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9525883" y="2681697"/>
            <a:ext cx="588640" cy="588640"/>
          </a:xfrm>
          <a:prstGeom prst="rect">
            <a:avLst/>
          </a:prstGeom>
        </p:spPr>
      </p:pic>
      <p:pic>
        <p:nvPicPr>
          <p:cNvPr id="31" name="Graphic 30">
            <a:extLst>
              <a:ext uri="{FF2B5EF4-FFF2-40B4-BE49-F238E27FC236}">
                <a16:creationId xmlns:a16="http://schemas.microsoft.com/office/drawing/2014/main" id="{6C815981-157A-6275-0EE9-52F441C71726}"/>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9525883" y="1833863"/>
            <a:ext cx="588640" cy="588640"/>
          </a:xfrm>
          <a:prstGeom prst="rect">
            <a:avLst/>
          </a:prstGeom>
        </p:spPr>
      </p:pic>
      <p:pic>
        <p:nvPicPr>
          <p:cNvPr id="29" name="Graphic 28">
            <a:extLst>
              <a:ext uri="{FF2B5EF4-FFF2-40B4-BE49-F238E27FC236}">
                <a16:creationId xmlns:a16="http://schemas.microsoft.com/office/drawing/2014/main" id="{345768D0-DCD2-7A47-AD86-AAD51086532D}"/>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09005" y="4377365"/>
            <a:ext cx="588640" cy="588640"/>
          </a:xfrm>
          <a:prstGeom prst="rect">
            <a:avLst/>
          </a:prstGeom>
        </p:spPr>
      </p:pic>
      <p:pic>
        <p:nvPicPr>
          <p:cNvPr id="27" name="Graphic 26">
            <a:extLst>
              <a:ext uri="{FF2B5EF4-FFF2-40B4-BE49-F238E27FC236}">
                <a16:creationId xmlns:a16="http://schemas.microsoft.com/office/drawing/2014/main" id="{7FF6A9EA-2984-0E6C-1712-0FF2C3F7291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1957741" y="1833863"/>
            <a:ext cx="588640" cy="588640"/>
          </a:xfrm>
          <a:prstGeom prst="rect">
            <a:avLst/>
          </a:prstGeom>
        </p:spPr>
      </p:pic>
      <p:pic>
        <p:nvPicPr>
          <p:cNvPr id="24" name="Graphic 23">
            <a:extLst>
              <a:ext uri="{FF2B5EF4-FFF2-40B4-BE49-F238E27FC236}">
                <a16:creationId xmlns:a16="http://schemas.microsoft.com/office/drawing/2014/main" id="{2884AA7A-1917-2B01-73AC-C8C02815031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529592" y="3529531"/>
            <a:ext cx="588640" cy="588640"/>
          </a:xfrm>
          <a:prstGeom prst="rect">
            <a:avLst/>
          </a:prstGeom>
        </p:spPr>
      </p:pic>
      <p:pic>
        <p:nvPicPr>
          <p:cNvPr id="22" name="Graphic 21">
            <a:extLst>
              <a:ext uri="{FF2B5EF4-FFF2-40B4-BE49-F238E27FC236}">
                <a16:creationId xmlns:a16="http://schemas.microsoft.com/office/drawing/2014/main" id="{E8083726-DA48-1BD5-38C5-F3BAD032BB6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5803121" y="4377365"/>
            <a:ext cx="588640" cy="588640"/>
          </a:xfrm>
          <a:prstGeom prst="rect">
            <a:avLst/>
          </a:prstGeom>
        </p:spPr>
      </p:pic>
      <p:pic>
        <p:nvPicPr>
          <p:cNvPr id="20" name="Graphic 19">
            <a:extLst>
              <a:ext uri="{FF2B5EF4-FFF2-40B4-BE49-F238E27FC236}">
                <a16:creationId xmlns:a16="http://schemas.microsoft.com/office/drawing/2014/main" id="{391CE8CC-6465-E001-EB7F-A64CFF4C6E9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9525883" y="5225199"/>
            <a:ext cx="588640" cy="588640"/>
          </a:xfrm>
          <a:prstGeom prst="rect">
            <a:avLst/>
          </a:prstGeom>
        </p:spPr>
      </p:pic>
      <p:pic>
        <p:nvPicPr>
          <p:cNvPr id="17" name="Graphic 16">
            <a:extLst>
              <a:ext uri="{FF2B5EF4-FFF2-40B4-BE49-F238E27FC236}">
                <a16:creationId xmlns:a16="http://schemas.microsoft.com/office/drawing/2014/main" id="{9F07C72A-EB2F-65D6-6EA1-B55EA1106172}"/>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709005" y="2681697"/>
            <a:ext cx="588640" cy="588640"/>
          </a:xfrm>
          <a:prstGeom prst="rect">
            <a:avLst/>
          </a:prstGeom>
        </p:spPr>
      </p:pic>
      <p:pic>
        <p:nvPicPr>
          <p:cNvPr id="12" name="Graphic 11">
            <a:extLst>
              <a:ext uri="{FF2B5EF4-FFF2-40B4-BE49-F238E27FC236}">
                <a16:creationId xmlns:a16="http://schemas.microsoft.com/office/drawing/2014/main" id="{D8481AEE-872A-0970-FC76-CCC8798699BB}"/>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1982534" y="2681697"/>
            <a:ext cx="588640" cy="588640"/>
          </a:xfrm>
          <a:prstGeom prst="rect">
            <a:avLst/>
          </a:prstGeom>
        </p:spPr>
      </p:pic>
      <p:pic>
        <p:nvPicPr>
          <p:cNvPr id="9" name="Graphic 8">
            <a:extLst>
              <a:ext uri="{FF2B5EF4-FFF2-40B4-BE49-F238E27FC236}">
                <a16:creationId xmlns:a16="http://schemas.microsoft.com/office/drawing/2014/main" id="{28893D23-616C-1436-0121-9990FCDBABD3}"/>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3256063" y="2681697"/>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0</a:t>
            </a:fld>
            <a:endParaRPr lang="en-GB"/>
          </a:p>
        </p:txBody>
      </p:sp>
      <p:pic>
        <p:nvPicPr>
          <p:cNvPr id="171" name="Graphic 170">
            <a:extLst>
              <a:ext uri="{FF2B5EF4-FFF2-40B4-BE49-F238E27FC236}">
                <a16:creationId xmlns:a16="http://schemas.microsoft.com/office/drawing/2014/main" id="{2E0FBF20-8BAC-2763-1BDD-1FA7520FB19A}"/>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a:off x="1982534" y="5225199"/>
            <a:ext cx="588640" cy="588640"/>
          </a:xfrm>
          <a:prstGeom prst="rect">
            <a:avLst/>
          </a:prstGeom>
        </p:spPr>
      </p:pic>
    </p:spTree>
    <p:extLst>
      <p:ext uri="{BB962C8B-B14F-4D97-AF65-F5344CB8AC3E}">
        <p14:creationId xmlns:p14="http://schemas.microsoft.com/office/powerpoint/2010/main" val="31768612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 name="Graphic 170">
            <a:extLst>
              <a:ext uri="{FF2B5EF4-FFF2-40B4-BE49-F238E27FC236}">
                <a16:creationId xmlns:a16="http://schemas.microsoft.com/office/drawing/2014/main" id="{66160C22-F80A-63C7-D7F5-027059D02D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16718" y="2681697"/>
            <a:ext cx="588640" cy="588640"/>
          </a:xfrm>
          <a:prstGeom prst="rect">
            <a:avLst/>
          </a:prstGeom>
        </p:spPr>
      </p:pic>
      <p:pic>
        <p:nvPicPr>
          <p:cNvPr id="169" name="Graphic 168">
            <a:extLst>
              <a:ext uri="{FF2B5EF4-FFF2-40B4-BE49-F238E27FC236}">
                <a16:creationId xmlns:a16="http://schemas.microsoft.com/office/drawing/2014/main" id="{EDBAB380-B290-F0C4-D86E-E06C5CEEE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212" y="4377365"/>
            <a:ext cx="588640" cy="588640"/>
          </a:xfrm>
          <a:prstGeom prst="rect">
            <a:avLst/>
          </a:prstGeom>
        </p:spPr>
      </p:pic>
      <p:pic>
        <p:nvPicPr>
          <p:cNvPr id="166" name="Graphic 165">
            <a:extLst>
              <a:ext uri="{FF2B5EF4-FFF2-40B4-BE49-F238E27FC236}">
                <a16:creationId xmlns:a16="http://schemas.microsoft.com/office/drawing/2014/main" id="{96525D77-0A7C-0E8B-792F-DF7271D1D7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06474" y="3529531"/>
            <a:ext cx="588640" cy="588640"/>
          </a:xfrm>
          <a:prstGeom prst="rect">
            <a:avLst/>
          </a:prstGeom>
        </p:spPr>
      </p:pic>
      <p:pic>
        <p:nvPicPr>
          <p:cNvPr id="160" name="Graphic 159">
            <a:extLst>
              <a:ext uri="{FF2B5EF4-FFF2-40B4-BE49-F238E27FC236}">
                <a16:creationId xmlns:a16="http://schemas.microsoft.com/office/drawing/2014/main" id="{A1B1DF3C-ABD9-1051-C52E-FB8333E55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189" y="1833863"/>
            <a:ext cx="588640" cy="588640"/>
          </a:xfrm>
          <a:prstGeom prst="rect">
            <a:avLst/>
          </a:prstGeom>
        </p:spPr>
      </p:pic>
      <p:pic>
        <p:nvPicPr>
          <p:cNvPr id="149" name="Graphic 148">
            <a:extLst>
              <a:ext uri="{FF2B5EF4-FFF2-40B4-BE49-F238E27FC236}">
                <a16:creationId xmlns:a16="http://schemas.microsoft.com/office/drawing/2014/main" id="{5062BA15-D5D8-1522-F666-6BA1797DFA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6718" y="3529531"/>
            <a:ext cx="588640" cy="588640"/>
          </a:xfrm>
          <a:prstGeom prst="rect">
            <a:avLst/>
          </a:prstGeom>
        </p:spPr>
      </p:pic>
      <p:grpSp>
        <p:nvGrpSpPr>
          <p:cNvPr id="138" name="Group 137">
            <a:extLst>
              <a:ext uri="{FF2B5EF4-FFF2-40B4-BE49-F238E27FC236}">
                <a16:creationId xmlns:a16="http://schemas.microsoft.com/office/drawing/2014/main" id="{9D86A6A5-AF04-54F9-7419-7B76966965B5}"/>
              </a:ext>
            </a:extLst>
          </p:cNvPr>
          <p:cNvGrpSpPr>
            <a:grpSpLocks/>
          </p:cNvGrpSpPr>
          <p:nvPr/>
        </p:nvGrpSpPr>
        <p:grpSpPr>
          <a:xfrm>
            <a:off x="6410382" y="3549796"/>
            <a:ext cx="454255" cy="548110"/>
            <a:chOff x="5326955" y="2834206"/>
            <a:chExt cx="588542" cy="710265"/>
          </a:xfrm>
        </p:grpSpPr>
        <p:sp>
          <p:nvSpPr>
            <p:cNvPr id="132" name="Freeform: Shape 131">
              <a:extLst>
                <a:ext uri="{FF2B5EF4-FFF2-40B4-BE49-F238E27FC236}">
                  <a16:creationId xmlns:a16="http://schemas.microsoft.com/office/drawing/2014/main" id="{451939F0-872A-30C9-38EF-4A6640116B9D}"/>
                </a:ext>
              </a:extLst>
            </p:cNvPr>
            <p:cNvSpPr/>
            <p:nvPr/>
          </p:nvSpPr>
          <p:spPr>
            <a:xfrm>
              <a:off x="5793975" y="2921773"/>
              <a:ext cx="97295" cy="97296"/>
            </a:xfrm>
            <a:custGeom>
              <a:avLst/>
              <a:gdLst>
                <a:gd name="connsiteX0" fmla="*/ 97296 w 97295"/>
                <a:gd name="connsiteY0" fmla="*/ 48648 h 97296"/>
                <a:gd name="connsiteX1" fmla="*/ 48648 w 97295"/>
                <a:gd name="connsiteY1" fmla="*/ 97297 h 97296"/>
                <a:gd name="connsiteX2" fmla="*/ 0 w 97295"/>
                <a:gd name="connsiteY2" fmla="*/ 48648 h 97296"/>
                <a:gd name="connsiteX3" fmla="*/ 48648 w 97295"/>
                <a:gd name="connsiteY3" fmla="*/ 0 h 97296"/>
                <a:gd name="connsiteX4" fmla="*/ 97296 w 97295"/>
                <a:gd name="connsiteY4" fmla="*/ 48648 h 9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5" h="97296">
                  <a:moveTo>
                    <a:pt x="97296" y="48648"/>
                  </a:moveTo>
                  <a:cubicBezTo>
                    <a:pt x="97296" y="75516"/>
                    <a:pt x="75515" y="97297"/>
                    <a:pt x="48648" y="97297"/>
                  </a:cubicBezTo>
                  <a:cubicBezTo>
                    <a:pt x="21780" y="97297"/>
                    <a:pt x="0" y="75516"/>
                    <a:pt x="0" y="48648"/>
                  </a:cubicBezTo>
                  <a:cubicBezTo>
                    <a:pt x="0" y="21781"/>
                    <a:pt x="21780" y="0"/>
                    <a:pt x="48648" y="0"/>
                  </a:cubicBezTo>
                  <a:cubicBezTo>
                    <a:pt x="75515" y="0"/>
                    <a:pt x="97296" y="21781"/>
                    <a:pt x="97296" y="48648"/>
                  </a:cubicBezTo>
                  <a:close/>
                </a:path>
              </a:pathLst>
            </a:custGeom>
            <a:solidFill>
              <a:srgbClr val="6D6E70"/>
            </a:solidFill>
            <a:ln w="480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2E43E8D-C5D6-A657-E008-0AEC77D37889}"/>
                </a:ext>
              </a:extLst>
            </p:cNvPr>
            <p:cNvSpPr/>
            <p:nvPr/>
          </p:nvSpPr>
          <p:spPr>
            <a:xfrm>
              <a:off x="5326955" y="2834206"/>
              <a:ext cx="379453" cy="710265"/>
            </a:xfrm>
            <a:custGeom>
              <a:avLst/>
              <a:gdLst>
                <a:gd name="connsiteX0" fmla="*/ 379454 w 379453"/>
                <a:gd name="connsiteY0" fmla="*/ 150810 h 710265"/>
                <a:gd name="connsiteX1" fmla="*/ 379454 w 379453"/>
                <a:gd name="connsiteY1" fmla="*/ 0 h 710265"/>
                <a:gd name="connsiteX2" fmla="*/ 0 w 379453"/>
                <a:gd name="connsiteY2" fmla="*/ 0 h 710265"/>
                <a:gd name="connsiteX3" fmla="*/ 0 w 379453"/>
                <a:gd name="connsiteY3" fmla="*/ 150810 h 710265"/>
                <a:gd name="connsiteX4" fmla="*/ 77837 w 379453"/>
                <a:gd name="connsiteY4" fmla="*/ 150810 h 710265"/>
                <a:gd name="connsiteX5" fmla="*/ 77837 w 379453"/>
                <a:gd name="connsiteY5" fmla="*/ 621045 h 710265"/>
                <a:gd name="connsiteX6" fmla="*/ 77837 w 379453"/>
                <a:gd name="connsiteY6" fmla="*/ 621872 h 710265"/>
                <a:gd name="connsiteX7" fmla="*/ 187295 w 379453"/>
                <a:gd name="connsiteY7" fmla="*/ 710266 h 710265"/>
                <a:gd name="connsiteX8" fmla="*/ 296704 w 379453"/>
                <a:gd name="connsiteY8" fmla="*/ 624791 h 710265"/>
                <a:gd name="connsiteX9" fmla="*/ 296704 w 379453"/>
                <a:gd name="connsiteY9" fmla="*/ 520537 h 710265"/>
                <a:gd name="connsiteX10" fmla="*/ 296752 w 379453"/>
                <a:gd name="connsiteY10" fmla="*/ 520537 h 710265"/>
                <a:gd name="connsiteX11" fmla="*/ 296752 w 379453"/>
                <a:gd name="connsiteY11" fmla="*/ 301620 h 710265"/>
                <a:gd name="connsiteX12" fmla="*/ 296752 w 379453"/>
                <a:gd name="connsiteY12" fmla="*/ 301620 h 710265"/>
                <a:gd name="connsiteX13" fmla="*/ 296752 w 379453"/>
                <a:gd name="connsiteY13" fmla="*/ 150810 h 710265"/>
                <a:gd name="connsiteX14" fmla="*/ 379454 w 379453"/>
                <a:gd name="connsiteY14" fmla="*/ 150810 h 710265"/>
                <a:gd name="connsiteX15" fmla="*/ 9730 w 379453"/>
                <a:gd name="connsiteY15" fmla="*/ 141080 h 710265"/>
                <a:gd name="connsiteX16" fmla="*/ 9730 w 379453"/>
                <a:gd name="connsiteY16" fmla="*/ 9730 h 710265"/>
                <a:gd name="connsiteX17" fmla="*/ 369724 w 379453"/>
                <a:gd name="connsiteY17" fmla="*/ 9730 h 710265"/>
                <a:gd name="connsiteX18" fmla="*/ 369724 w 379453"/>
                <a:gd name="connsiteY18" fmla="*/ 141080 h 710265"/>
                <a:gd name="connsiteX19" fmla="*/ 9730 w 379453"/>
                <a:gd name="connsiteY19" fmla="*/ 141080 h 710265"/>
                <a:gd name="connsiteX20" fmla="*/ 87566 w 379453"/>
                <a:gd name="connsiteY20" fmla="*/ 311349 h 710265"/>
                <a:gd name="connsiteX21" fmla="*/ 287023 w 379453"/>
                <a:gd name="connsiteY21" fmla="*/ 311349 h 710265"/>
                <a:gd name="connsiteX22" fmla="*/ 287023 w 379453"/>
                <a:gd name="connsiteY22" fmla="*/ 510808 h 710265"/>
                <a:gd name="connsiteX23" fmla="*/ 87566 w 379453"/>
                <a:gd name="connsiteY23" fmla="*/ 510808 h 710265"/>
                <a:gd name="connsiteX24" fmla="*/ 87566 w 379453"/>
                <a:gd name="connsiteY24" fmla="*/ 311349 h 710265"/>
                <a:gd name="connsiteX25" fmla="*/ 287023 w 379453"/>
                <a:gd name="connsiteY25" fmla="*/ 615061 h 710265"/>
                <a:gd name="connsiteX26" fmla="*/ 286780 w 379453"/>
                <a:gd name="connsiteY26" fmla="*/ 615061 h 710265"/>
                <a:gd name="connsiteX27" fmla="*/ 286926 w 379453"/>
                <a:gd name="connsiteY27" fmla="*/ 620072 h 710265"/>
                <a:gd name="connsiteX28" fmla="*/ 287023 w 379453"/>
                <a:gd name="connsiteY28" fmla="*/ 621239 h 710265"/>
                <a:gd name="connsiteX29" fmla="*/ 287023 w 379453"/>
                <a:gd name="connsiteY29" fmla="*/ 621872 h 710265"/>
                <a:gd name="connsiteX30" fmla="*/ 187295 w 379453"/>
                <a:gd name="connsiteY30" fmla="*/ 700536 h 710265"/>
                <a:gd name="connsiteX31" fmla="*/ 87566 w 379453"/>
                <a:gd name="connsiteY31" fmla="*/ 621872 h 710265"/>
                <a:gd name="connsiteX32" fmla="*/ 87566 w 379453"/>
                <a:gd name="connsiteY32" fmla="*/ 621239 h 710265"/>
                <a:gd name="connsiteX33" fmla="*/ 87664 w 379453"/>
                <a:gd name="connsiteY33" fmla="*/ 620072 h 710265"/>
                <a:gd name="connsiteX34" fmla="*/ 87664 w 379453"/>
                <a:gd name="connsiteY34" fmla="*/ 615061 h 710265"/>
                <a:gd name="connsiteX35" fmla="*/ 87518 w 379453"/>
                <a:gd name="connsiteY35" fmla="*/ 615061 h 710265"/>
                <a:gd name="connsiteX36" fmla="*/ 87518 w 379453"/>
                <a:gd name="connsiteY36" fmla="*/ 520537 h 710265"/>
                <a:gd name="connsiteX37" fmla="*/ 287023 w 379453"/>
                <a:gd name="connsiteY37" fmla="*/ 520537 h 710265"/>
                <a:gd name="connsiteX38" fmla="*/ 287023 w 379453"/>
                <a:gd name="connsiteY38" fmla="*/ 615061 h 710265"/>
                <a:gd name="connsiteX39" fmla="*/ 287023 w 379453"/>
                <a:gd name="connsiteY39" fmla="*/ 301620 h 710265"/>
                <a:gd name="connsiteX40" fmla="*/ 87566 w 379453"/>
                <a:gd name="connsiteY40" fmla="*/ 301620 h 710265"/>
                <a:gd name="connsiteX41" fmla="*/ 87566 w 379453"/>
                <a:gd name="connsiteY41" fmla="*/ 150810 h 710265"/>
                <a:gd name="connsiteX42" fmla="*/ 287023 w 379453"/>
                <a:gd name="connsiteY42" fmla="*/ 150810 h 710265"/>
                <a:gd name="connsiteX43" fmla="*/ 287023 w 379453"/>
                <a:gd name="connsiteY43" fmla="*/ 301620 h 71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453" h="710265">
                  <a:moveTo>
                    <a:pt x="379454" y="150810"/>
                  </a:moveTo>
                  <a:lnTo>
                    <a:pt x="379454" y="0"/>
                  </a:lnTo>
                  <a:lnTo>
                    <a:pt x="0" y="0"/>
                  </a:lnTo>
                  <a:lnTo>
                    <a:pt x="0" y="150810"/>
                  </a:lnTo>
                  <a:lnTo>
                    <a:pt x="77837" y="150810"/>
                  </a:lnTo>
                  <a:lnTo>
                    <a:pt x="77837" y="621045"/>
                  </a:lnTo>
                  <a:cubicBezTo>
                    <a:pt x="77837" y="621337"/>
                    <a:pt x="77837" y="621580"/>
                    <a:pt x="77837" y="621872"/>
                  </a:cubicBezTo>
                  <a:cubicBezTo>
                    <a:pt x="77837" y="670618"/>
                    <a:pt x="126922" y="710266"/>
                    <a:pt x="187295" y="710266"/>
                  </a:cubicBezTo>
                  <a:cubicBezTo>
                    <a:pt x="247667" y="710266"/>
                    <a:pt x="294758" y="672174"/>
                    <a:pt x="296704" y="624791"/>
                  </a:cubicBezTo>
                  <a:lnTo>
                    <a:pt x="296704" y="520537"/>
                  </a:lnTo>
                  <a:lnTo>
                    <a:pt x="296752" y="520537"/>
                  </a:lnTo>
                  <a:lnTo>
                    <a:pt x="296752" y="301620"/>
                  </a:lnTo>
                  <a:lnTo>
                    <a:pt x="296752" y="301620"/>
                  </a:lnTo>
                  <a:lnTo>
                    <a:pt x="296752" y="150810"/>
                  </a:lnTo>
                  <a:lnTo>
                    <a:pt x="379454" y="150810"/>
                  </a:lnTo>
                  <a:close/>
                  <a:moveTo>
                    <a:pt x="9730" y="141080"/>
                  </a:moveTo>
                  <a:lnTo>
                    <a:pt x="9730" y="9730"/>
                  </a:lnTo>
                  <a:lnTo>
                    <a:pt x="369724" y="9730"/>
                  </a:lnTo>
                  <a:lnTo>
                    <a:pt x="369724" y="141080"/>
                  </a:lnTo>
                  <a:lnTo>
                    <a:pt x="9730" y="141080"/>
                  </a:lnTo>
                  <a:close/>
                  <a:moveTo>
                    <a:pt x="87566" y="311349"/>
                  </a:moveTo>
                  <a:lnTo>
                    <a:pt x="287023" y="311349"/>
                  </a:lnTo>
                  <a:lnTo>
                    <a:pt x="287023" y="510808"/>
                  </a:lnTo>
                  <a:lnTo>
                    <a:pt x="87566" y="510808"/>
                  </a:lnTo>
                  <a:lnTo>
                    <a:pt x="87566" y="311349"/>
                  </a:lnTo>
                  <a:close/>
                  <a:moveTo>
                    <a:pt x="287023" y="615061"/>
                  </a:moveTo>
                  <a:lnTo>
                    <a:pt x="286780" y="615061"/>
                  </a:lnTo>
                  <a:lnTo>
                    <a:pt x="286926" y="620072"/>
                  </a:lnTo>
                  <a:cubicBezTo>
                    <a:pt x="286926" y="620461"/>
                    <a:pt x="286926" y="620850"/>
                    <a:pt x="287023" y="621239"/>
                  </a:cubicBezTo>
                  <a:cubicBezTo>
                    <a:pt x="287023" y="621434"/>
                    <a:pt x="287023" y="621677"/>
                    <a:pt x="287023" y="621872"/>
                  </a:cubicBezTo>
                  <a:cubicBezTo>
                    <a:pt x="287023" y="665266"/>
                    <a:pt x="242267" y="700536"/>
                    <a:pt x="187295" y="700536"/>
                  </a:cubicBezTo>
                  <a:cubicBezTo>
                    <a:pt x="132322" y="700536"/>
                    <a:pt x="87566" y="665266"/>
                    <a:pt x="87566" y="621872"/>
                  </a:cubicBezTo>
                  <a:cubicBezTo>
                    <a:pt x="87566" y="621677"/>
                    <a:pt x="87566" y="621434"/>
                    <a:pt x="87566" y="621239"/>
                  </a:cubicBezTo>
                  <a:cubicBezTo>
                    <a:pt x="87566" y="620850"/>
                    <a:pt x="87615" y="620461"/>
                    <a:pt x="87664" y="620072"/>
                  </a:cubicBezTo>
                  <a:lnTo>
                    <a:pt x="87664" y="615061"/>
                  </a:lnTo>
                  <a:lnTo>
                    <a:pt x="87518" y="615061"/>
                  </a:lnTo>
                  <a:lnTo>
                    <a:pt x="87518" y="520537"/>
                  </a:lnTo>
                  <a:lnTo>
                    <a:pt x="287023" y="520537"/>
                  </a:lnTo>
                  <a:lnTo>
                    <a:pt x="287023" y="615061"/>
                  </a:lnTo>
                  <a:close/>
                  <a:moveTo>
                    <a:pt x="287023" y="301620"/>
                  </a:moveTo>
                  <a:lnTo>
                    <a:pt x="87566" y="301620"/>
                  </a:lnTo>
                  <a:lnTo>
                    <a:pt x="87566" y="150810"/>
                  </a:lnTo>
                  <a:lnTo>
                    <a:pt x="287023" y="150810"/>
                  </a:lnTo>
                  <a:lnTo>
                    <a:pt x="287023" y="301620"/>
                  </a:lnTo>
                  <a:close/>
                </a:path>
              </a:pathLst>
            </a:custGeom>
            <a:solidFill>
              <a:srgbClr val="000000"/>
            </a:solidFill>
            <a:ln w="480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C6E0C2E5-1B54-1B3D-9A01-AE2A7377A1DC}"/>
                </a:ext>
              </a:extLst>
            </p:cNvPr>
            <p:cNvSpPr/>
            <p:nvPr/>
          </p:nvSpPr>
          <p:spPr>
            <a:xfrm>
              <a:off x="5351278" y="2858530"/>
              <a:ext cx="330805" cy="97296"/>
            </a:xfrm>
            <a:custGeom>
              <a:avLst/>
              <a:gdLst>
                <a:gd name="connsiteX0" fmla="*/ 0 w 330805"/>
                <a:gd name="connsiteY0" fmla="*/ 0 h 97296"/>
                <a:gd name="connsiteX1" fmla="*/ 330806 w 330805"/>
                <a:gd name="connsiteY1" fmla="*/ 0 h 97296"/>
                <a:gd name="connsiteX2" fmla="*/ 330806 w 330805"/>
                <a:gd name="connsiteY2" fmla="*/ 97297 h 97296"/>
                <a:gd name="connsiteX3" fmla="*/ 0 w 330805"/>
                <a:gd name="connsiteY3" fmla="*/ 97297 h 97296"/>
              </a:gdLst>
              <a:ahLst/>
              <a:cxnLst>
                <a:cxn ang="0">
                  <a:pos x="connsiteX0" y="connsiteY0"/>
                </a:cxn>
                <a:cxn ang="0">
                  <a:pos x="connsiteX1" y="connsiteY1"/>
                </a:cxn>
                <a:cxn ang="0">
                  <a:pos x="connsiteX2" y="connsiteY2"/>
                </a:cxn>
                <a:cxn ang="0">
                  <a:pos x="connsiteX3" y="connsiteY3"/>
                </a:cxn>
              </a:cxnLst>
              <a:rect l="l" t="t" r="r" b="b"/>
              <a:pathLst>
                <a:path w="330805" h="97296">
                  <a:moveTo>
                    <a:pt x="0" y="0"/>
                  </a:moveTo>
                  <a:lnTo>
                    <a:pt x="330806" y="0"/>
                  </a:lnTo>
                  <a:lnTo>
                    <a:pt x="330806" y="97297"/>
                  </a:lnTo>
                  <a:lnTo>
                    <a:pt x="0" y="97297"/>
                  </a:lnTo>
                  <a:close/>
                </a:path>
              </a:pathLst>
            </a:custGeom>
            <a:solidFill>
              <a:srgbClr val="6D6E70"/>
            </a:solidFill>
            <a:ln w="480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B3EFC1BD-CE13-A782-BF74-34D0A70E8746}"/>
                </a:ext>
              </a:extLst>
            </p:cNvPr>
            <p:cNvSpPr/>
            <p:nvPr/>
          </p:nvSpPr>
          <p:spPr>
            <a:xfrm>
              <a:off x="5424250" y="3155285"/>
              <a:ext cx="179997" cy="179998"/>
            </a:xfrm>
            <a:custGeom>
              <a:avLst/>
              <a:gdLst>
                <a:gd name="connsiteX0" fmla="*/ 0 w 179997"/>
                <a:gd name="connsiteY0" fmla="*/ 0 h 179998"/>
                <a:gd name="connsiteX1" fmla="*/ 0 w 179997"/>
                <a:gd name="connsiteY1" fmla="*/ 45729 h 179998"/>
                <a:gd name="connsiteX2" fmla="*/ 80074 w 179997"/>
                <a:gd name="connsiteY2" fmla="*/ 45729 h 179998"/>
                <a:gd name="connsiteX3" fmla="*/ 80074 w 179997"/>
                <a:gd name="connsiteY3" fmla="*/ 55459 h 179998"/>
                <a:gd name="connsiteX4" fmla="*/ 0 w 179997"/>
                <a:gd name="connsiteY4" fmla="*/ 55459 h 179998"/>
                <a:gd name="connsiteX5" fmla="*/ 0 w 179997"/>
                <a:gd name="connsiteY5" fmla="*/ 121134 h 179998"/>
                <a:gd name="connsiteX6" fmla="*/ 80074 w 179997"/>
                <a:gd name="connsiteY6" fmla="*/ 121134 h 179998"/>
                <a:gd name="connsiteX7" fmla="*/ 80074 w 179997"/>
                <a:gd name="connsiteY7" fmla="*/ 130864 h 179998"/>
                <a:gd name="connsiteX8" fmla="*/ 0 w 179997"/>
                <a:gd name="connsiteY8" fmla="*/ 130864 h 179998"/>
                <a:gd name="connsiteX9" fmla="*/ 0 w 179997"/>
                <a:gd name="connsiteY9" fmla="*/ 179999 h 179998"/>
                <a:gd name="connsiteX10" fmla="*/ 179997 w 179997"/>
                <a:gd name="connsiteY10" fmla="*/ 179999 h 179998"/>
                <a:gd name="connsiteX11" fmla="*/ 179997 w 179997"/>
                <a:gd name="connsiteY11" fmla="*/ 0 h 179998"/>
                <a:gd name="connsiteX12" fmla="*/ 0 w 179997"/>
                <a:gd name="connsiteY12" fmla="*/ 0 h 1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7" h="179998">
                  <a:moveTo>
                    <a:pt x="0" y="0"/>
                  </a:moveTo>
                  <a:lnTo>
                    <a:pt x="0" y="45729"/>
                  </a:lnTo>
                  <a:lnTo>
                    <a:pt x="80074" y="45729"/>
                  </a:lnTo>
                  <a:lnTo>
                    <a:pt x="80074" y="55459"/>
                  </a:lnTo>
                  <a:lnTo>
                    <a:pt x="0" y="55459"/>
                  </a:lnTo>
                  <a:lnTo>
                    <a:pt x="0" y="121134"/>
                  </a:lnTo>
                  <a:lnTo>
                    <a:pt x="80074" y="121134"/>
                  </a:lnTo>
                  <a:lnTo>
                    <a:pt x="80074" y="130864"/>
                  </a:lnTo>
                  <a:lnTo>
                    <a:pt x="0" y="130864"/>
                  </a:lnTo>
                  <a:lnTo>
                    <a:pt x="0" y="179999"/>
                  </a:lnTo>
                  <a:lnTo>
                    <a:pt x="179997" y="179999"/>
                  </a:lnTo>
                  <a:lnTo>
                    <a:pt x="179997" y="0"/>
                  </a:lnTo>
                  <a:lnTo>
                    <a:pt x="0" y="0"/>
                  </a:lnTo>
                  <a:close/>
                </a:path>
              </a:pathLst>
            </a:custGeom>
            <a:solidFill>
              <a:srgbClr val="6D6E70"/>
            </a:solidFill>
            <a:ln w="480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7421D21-6EAE-4487-7066-E9EE3CA823A2}"/>
                </a:ext>
              </a:extLst>
            </p:cNvPr>
            <p:cNvSpPr/>
            <p:nvPr/>
          </p:nvSpPr>
          <p:spPr>
            <a:xfrm>
              <a:off x="5766148" y="2895746"/>
              <a:ext cx="149349" cy="643860"/>
            </a:xfrm>
            <a:custGeom>
              <a:avLst/>
              <a:gdLst>
                <a:gd name="connsiteX0" fmla="*/ 93307 w 149349"/>
                <a:gd name="connsiteY0" fmla="*/ 643861 h 643860"/>
                <a:gd name="connsiteX1" fmla="*/ 56140 w 149349"/>
                <a:gd name="connsiteY1" fmla="*/ 643861 h 643860"/>
                <a:gd name="connsiteX2" fmla="*/ 56140 w 149349"/>
                <a:gd name="connsiteY2" fmla="*/ 147015 h 643860"/>
                <a:gd name="connsiteX3" fmla="*/ 0 w 149349"/>
                <a:gd name="connsiteY3" fmla="*/ 74675 h 643860"/>
                <a:gd name="connsiteX4" fmla="*/ 74675 w 149349"/>
                <a:gd name="connsiteY4" fmla="*/ 0 h 643860"/>
                <a:gd name="connsiteX5" fmla="*/ 149349 w 149349"/>
                <a:gd name="connsiteY5" fmla="*/ 74675 h 643860"/>
                <a:gd name="connsiteX6" fmla="*/ 93209 w 149349"/>
                <a:gd name="connsiteY6" fmla="*/ 147015 h 643860"/>
                <a:gd name="connsiteX7" fmla="*/ 93209 w 149349"/>
                <a:gd name="connsiteY7" fmla="*/ 643861 h 643860"/>
                <a:gd name="connsiteX8" fmla="*/ 65869 w 149349"/>
                <a:gd name="connsiteY8" fmla="*/ 634131 h 643860"/>
                <a:gd name="connsiteX9" fmla="*/ 83577 w 149349"/>
                <a:gd name="connsiteY9" fmla="*/ 634131 h 643860"/>
                <a:gd name="connsiteX10" fmla="*/ 83577 w 149349"/>
                <a:gd name="connsiteY10" fmla="*/ 139134 h 643860"/>
                <a:gd name="connsiteX11" fmla="*/ 87469 w 149349"/>
                <a:gd name="connsiteY11" fmla="*/ 138356 h 643860"/>
                <a:gd name="connsiteX12" fmla="*/ 139668 w 149349"/>
                <a:gd name="connsiteY12" fmla="*/ 74675 h 643860"/>
                <a:gd name="connsiteX13" fmla="*/ 74723 w 149349"/>
                <a:gd name="connsiteY13" fmla="*/ 9730 h 643860"/>
                <a:gd name="connsiteX14" fmla="*/ 9778 w 149349"/>
                <a:gd name="connsiteY14" fmla="*/ 74675 h 643860"/>
                <a:gd name="connsiteX15" fmla="*/ 61977 w 149349"/>
                <a:gd name="connsiteY15" fmla="*/ 138356 h 643860"/>
                <a:gd name="connsiteX16" fmla="*/ 65869 w 149349"/>
                <a:gd name="connsiteY16" fmla="*/ 139134 h 643860"/>
                <a:gd name="connsiteX17" fmla="*/ 65869 w 149349"/>
                <a:gd name="connsiteY17" fmla="*/ 634131 h 6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49" h="643860">
                  <a:moveTo>
                    <a:pt x="93307" y="643861"/>
                  </a:moveTo>
                  <a:lnTo>
                    <a:pt x="56140" y="643861"/>
                  </a:lnTo>
                  <a:lnTo>
                    <a:pt x="56140" y="147015"/>
                  </a:lnTo>
                  <a:cubicBezTo>
                    <a:pt x="23400" y="138648"/>
                    <a:pt x="0" y="108826"/>
                    <a:pt x="0" y="74675"/>
                  </a:cubicBezTo>
                  <a:cubicBezTo>
                    <a:pt x="0" y="33470"/>
                    <a:pt x="33518" y="0"/>
                    <a:pt x="74675" y="0"/>
                  </a:cubicBezTo>
                  <a:cubicBezTo>
                    <a:pt x="115831" y="0"/>
                    <a:pt x="149349" y="33519"/>
                    <a:pt x="149349" y="74675"/>
                  </a:cubicBezTo>
                  <a:cubicBezTo>
                    <a:pt x="149349" y="108826"/>
                    <a:pt x="125998" y="138648"/>
                    <a:pt x="93209" y="147015"/>
                  </a:cubicBezTo>
                  <a:lnTo>
                    <a:pt x="93209" y="643861"/>
                  </a:lnTo>
                  <a:close/>
                  <a:moveTo>
                    <a:pt x="65869" y="634131"/>
                  </a:moveTo>
                  <a:lnTo>
                    <a:pt x="83577" y="634131"/>
                  </a:lnTo>
                  <a:lnTo>
                    <a:pt x="83577" y="139134"/>
                  </a:lnTo>
                  <a:lnTo>
                    <a:pt x="87469" y="138356"/>
                  </a:lnTo>
                  <a:cubicBezTo>
                    <a:pt x="117728" y="132324"/>
                    <a:pt x="139668" y="105518"/>
                    <a:pt x="139668" y="74675"/>
                  </a:cubicBezTo>
                  <a:cubicBezTo>
                    <a:pt x="139668" y="38870"/>
                    <a:pt x="110528" y="9730"/>
                    <a:pt x="74723" y="9730"/>
                  </a:cubicBezTo>
                  <a:cubicBezTo>
                    <a:pt x="38918" y="9730"/>
                    <a:pt x="9778" y="38870"/>
                    <a:pt x="9778" y="74675"/>
                  </a:cubicBezTo>
                  <a:cubicBezTo>
                    <a:pt x="9778" y="105567"/>
                    <a:pt x="31718" y="132324"/>
                    <a:pt x="61977" y="138356"/>
                  </a:cubicBezTo>
                  <a:lnTo>
                    <a:pt x="65869" y="139134"/>
                  </a:lnTo>
                  <a:lnTo>
                    <a:pt x="65869" y="634131"/>
                  </a:lnTo>
                  <a:close/>
                </a:path>
              </a:pathLst>
            </a:custGeom>
            <a:solidFill>
              <a:srgbClr val="000000"/>
            </a:solidFill>
            <a:ln w="4802" cap="flat">
              <a:noFill/>
              <a:prstDash val="solid"/>
              <a:miter/>
            </a:ln>
          </p:spPr>
          <p:txBody>
            <a:bodyPr rtlCol="0" anchor="ctr"/>
            <a:lstStyle/>
            <a:p>
              <a:endParaRPr lang="en-GB"/>
            </a:p>
          </p:txBody>
        </p:sp>
      </p:grpSp>
      <p:pic>
        <p:nvPicPr>
          <p:cNvPr id="58" name="Graphic 57">
            <a:extLst>
              <a:ext uri="{FF2B5EF4-FFF2-40B4-BE49-F238E27FC236}">
                <a16:creationId xmlns:a16="http://schemas.microsoft.com/office/drawing/2014/main" id="{D2F29311-C9C7-9A6C-7E53-3DB453DED4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2948" y="1833863"/>
            <a:ext cx="588640" cy="588640"/>
          </a:xfrm>
          <a:prstGeom prst="rect">
            <a:avLst/>
          </a:prstGeom>
        </p:spPr>
      </p:pic>
      <p:pic>
        <p:nvPicPr>
          <p:cNvPr id="52" name="Graphic 51">
            <a:extLst>
              <a:ext uri="{FF2B5EF4-FFF2-40B4-BE49-F238E27FC236}">
                <a16:creationId xmlns:a16="http://schemas.microsoft.com/office/drawing/2014/main" id="{FDC73BA7-7F63-950D-87F2-DFB5BB1DF4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474" y="1833863"/>
            <a:ext cx="588640" cy="588640"/>
          </a:xfrm>
          <a:prstGeom prst="rect">
            <a:avLst/>
          </a:prstGeom>
        </p:spPr>
      </p:pic>
      <p:pic>
        <p:nvPicPr>
          <p:cNvPr id="44" name="Graphic 43">
            <a:extLst>
              <a:ext uri="{FF2B5EF4-FFF2-40B4-BE49-F238E27FC236}">
                <a16:creationId xmlns:a16="http://schemas.microsoft.com/office/drawing/2014/main" id="{E2F0A1DC-76F3-72D6-EEA7-7F0D90340D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6974" y="1833863"/>
            <a:ext cx="588640" cy="588640"/>
          </a:xfrm>
          <a:prstGeom prst="rect">
            <a:avLst/>
          </a:prstGeom>
        </p:spPr>
      </p:pic>
      <p:pic>
        <p:nvPicPr>
          <p:cNvPr id="42" name="Graphic 41">
            <a:extLst>
              <a:ext uri="{FF2B5EF4-FFF2-40B4-BE49-F238E27FC236}">
                <a16:creationId xmlns:a16="http://schemas.microsoft.com/office/drawing/2014/main" id="{93A9C7DE-E428-65A1-5193-5D3084EB17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4212" y="2681697"/>
            <a:ext cx="588640" cy="588640"/>
          </a:xfrm>
          <a:prstGeom prst="rect">
            <a:avLst/>
          </a:prstGeom>
        </p:spPr>
      </p:pic>
      <p:pic>
        <p:nvPicPr>
          <p:cNvPr id="38" name="Graphic 37">
            <a:extLst>
              <a:ext uri="{FF2B5EF4-FFF2-40B4-BE49-F238E27FC236}">
                <a16:creationId xmlns:a16="http://schemas.microsoft.com/office/drawing/2014/main" id="{2383B19F-7FC5-294D-EEEA-360D054F82C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32948" y="2690176"/>
            <a:ext cx="588640" cy="588640"/>
          </a:xfrm>
          <a:prstGeom prst="rect">
            <a:avLst/>
          </a:prstGeom>
        </p:spPr>
      </p:pic>
      <p:pic>
        <p:nvPicPr>
          <p:cNvPr id="30" name="Graphic 29">
            <a:extLst>
              <a:ext uri="{FF2B5EF4-FFF2-40B4-BE49-F238E27FC236}">
                <a16:creationId xmlns:a16="http://schemas.microsoft.com/office/drawing/2014/main" id="{598CDD86-B9F2-636B-B23C-DE49F7C521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06974" y="2681697"/>
            <a:ext cx="588640" cy="588640"/>
          </a:xfrm>
          <a:prstGeom prst="rect">
            <a:avLst/>
          </a:prstGeom>
        </p:spPr>
      </p:pic>
      <p:pic>
        <p:nvPicPr>
          <p:cNvPr id="26" name="Graphic 25">
            <a:extLst>
              <a:ext uri="{FF2B5EF4-FFF2-40B4-BE49-F238E27FC236}">
                <a16:creationId xmlns:a16="http://schemas.microsoft.com/office/drawing/2014/main" id="{69D4DBD6-CBE8-14B8-9A74-D8580A8538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06474" y="2681697"/>
            <a:ext cx="588640" cy="588640"/>
          </a:xfrm>
          <a:prstGeom prst="rect">
            <a:avLst/>
          </a:prstGeom>
        </p:spPr>
      </p:pic>
      <p:pic>
        <p:nvPicPr>
          <p:cNvPr id="23" name="Graphic 22">
            <a:extLst>
              <a:ext uri="{FF2B5EF4-FFF2-40B4-BE49-F238E27FC236}">
                <a16:creationId xmlns:a16="http://schemas.microsoft.com/office/drawing/2014/main" id="{C604B506-4883-3B03-7EA1-EFC68F8F3C8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06974" y="3529531"/>
            <a:ext cx="588640" cy="588640"/>
          </a:xfrm>
          <a:prstGeom prst="rect">
            <a:avLst/>
          </a:prstGeom>
        </p:spPr>
      </p:pic>
      <p:pic>
        <p:nvPicPr>
          <p:cNvPr id="19" name="Graphic 18">
            <a:extLst>
              <a:ext uri="{FF2B5EF4-FFF2-40B4-BE49-F238E27FC236}">
                <a16:creationId xmlns:a16="http://schemas.microsoft.com/office/drawing/2014/main" id="{EE0837F4-AF30-35D3-00E2-63E697E192A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84212" y="3529531"/>
            <a:ext cx="588640" cy="588640"/>
          </a:xfrm>
          <a:prstGeom prst="rect">
            <a:avLst/>
          </a:prstGeom>
        </p:spPr>
      </p:pic>
      <p:pic>
        <p:nvPicPr>
          <p:cNvPr id="16" name="Graphic 15">
            <a:extLst>
              <a:ext uri="{FF2B5EF4-FFF2-40B4-BE49-F238E27FC236}">
                <a16:creationId xmlns:a16="http://schemas.microsoft.com/office/drawing/2014/main" id="{7D4F9EA2-6404-5400-6FDD-7F008E759C1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32948" y="3529531"/>
            <a:ext cx="588640" cy="588640"/>
          </a:xfrm>
          <a:prstGeom prst="rect">
            <a:avLst/>
          </a:prstGeom>
        </p:spPr>
      </p:pic>
      <p:pic>
        <p:nvPicPr>
          <p:cNvPr id="14" name="Graphic 13">
            <a:extLst>
              <a:ext uri="{FF2B5EF4-FFF2-40B4-BE49-F238E27FC236}">
                <a16:creationId xmlns:a16="http://schemas.microsoft.com/office/drawing/2014/main" id="{0BA61C6A-B513-697C-CFE1-59C02BB7A7E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84212" y="1833863"/>
            <a:ext cx="588640" cy="588640"/>
          </a:xfrm>
          <a:prstGeom prst="rect">
            <a:avLst/>
          </a:prstGeom>
        </p:spPr>
      </p:pic>
      <p:pic>
        <p:nvPicPr>
          <p:cNvPr id="11" name="Graphic 10">
            <a:extLst>
              <a:ext uri="{FF2B5EF4-FFF2-40B4-BE49-F238E27FC236}">
                <a16:creationId xmlns:a16="http://schemas.microsoft.com/office/drawing/2014/main" id="{043D33B6-8721-B4E1-10D8-1C9F985C098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616718" y="1833863"/>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1</a:t>
            </a:fld>
            <a:endParaRPr lang="en-GB"/>
          </a:p>
        </p:txBody>
      </p:sp>
      <p:grpSp>
        <p:nvGrpSpPr>
          <p:cNvPr id="62" name="Group 61">
            <a:extLst>
              <a:ext uri="{FF2B5EF4-FFF2-40B4-BE49-F238E27FC236}">
                <a16:creationId xmlns:a16="http://schemas.microsoft.com/office/drawing/2014/main" id="{4E24FA3E-3F36-7809-1F8E-87453DF77CB7}"/>
              </a:ext>
            </a:extLst>
          </p:cNvPr>
          <p:cNvGrpSpPr/>
          <p:nvPr/>
        </p:nvGrpSpPr>
        <p:grpSpPr>
          <a:xfrm>
            <a:off x="6343189" y="2681697"/>
            <a:ext cx="588640" cy="588640"/>
            <a:chOff x="6343189" y="2681697"/>
            <a:chExt cx="588640" cy="588640"/>
          </a:xfrm>
        </p:grpSpPr>
        <p:pic>
          <p:nvPicPr>
            <p:cNvPr id="61" name="Graphic 60">
              <a:extLst>
                <a:ext uri="{FF2B5EF4-FFF2-40B4-BE49-F238E27FC236}">
                  <a16:creationId xmlns:a16="http://schemas.microsoft.com/office/drawing/2014/main" id="{30595507-FA85-C821-9674-6E5552266D3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508293" y="2690176"/>
              <a:ext cx="258431" cy="571682"/>
            </a:xfrm>
            <a:prstGeom prst="rect">
              <a:avLst/>
            </a:prstGeom>
          </p:spPr>
        </p:pic>
        <p:sp>
          <p:nvSpPr>
            <p:cNvPr id="36" name="Rectangle 35">
              <a:extLst>
                <a:ext uri="{FF2B5EF4-FFF2-40B4-BE49-F238E27FC236}">
                  <a16:creationId xmlns:a16="http://schemas.microsoft.com/office/drawing/2014/main" id="{879400DC-E84F-BB0C-EC4E-93AF9BDEFA01}"/>
                </a:ext>
              </a:extLst>
            </p:cNvPr>
            <p:cNvSpPr/>
            <p:nvPr/>
          </p:nvSpPr>
          <p:spPr>
            <a:xfrm>
              <a:off x="6343189"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oup 7">
            <a:extLst>
              <a:ext uri="{FF2B5EF4-FFF2-40B4-BE49-F238E27FC236}">
                <a16:creationId xmlns:a16="http://schemas.microsoft.com/office/drawing/2014/main" id="{F4DBC185-2A44-107D-7F2F-CE849FDE4619}"/>
              </a:ext>
            </a:extLst>
          </p:cNvPr>
          <p:cNvGrpSpPr/>
          <p:nvPr/>
        </p:nvGrpSpPr>
        <p:grpSpPr>
          <a:xfrm>
            <a:off x="8890247" y="3529531"/>
            <a:ext cx="588640" cy="588640"/>
            <a:chOff x="8890247" y="3529531"/>
            <a:chExt cx="588640" cy="588640"/>
          </a:xfrm>
        </p:grpSpPr>
        <p:pic>
          <p:nvPicPr>
            <p:cNvPr id="7" name="Graphic 6">
              <a:extLst>
                <a:ext uri="{FF2B5EF4-FFF2-40B4-BE49-F238E27FC236}">
                  <a16:creationId xmlns:a16="http://schemas.microsoft.com/office/drawing/2014/main" id="{28DDD501-3085-6CA2-DE69-3BEB705967A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931923" y="3723147"/>
              <a:ext cx="505287" cy="201409"/>
            </a:xfrm>
            <a:prstGeom prst="rect">
              <a:avLst/>
            </a:prstGeom>
          </p:spPr>
        </p:pic>
        <p:sp>
          <p:nvSpPr>
            <p:cNvPr id="39" name="Rectangle 38">
              <a:extLst>
                <a:ext uri="{FF2B5EF4-FFF2-40B4-BE49-F238E27FC236}">
                  <a16:creationId xmlns:a16="http://schemas.microsoft.com/office/drawing/2014/main" id="{41D78889-D10C-D95B-CC91-5F646B182CFA}"/>
                </a:ext>
              </a:extLst>
            </p:cNvPr>
            <p:cNvSpPr/>
            <p:nvPr/>
          </p:nvSpPr>
          <p:spPr>
            <a:xfrm>
              <a:off x="8890247"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6" name="Group 145">
            <a:extLst>
              <a:ext uri="{FF2B5EF4-FFF2-40B4-BE49-F238E27FC236}">
                <a16:creationId xmlns:a16="http://schemas.microsoft.com/office/drawing/2014/main" id="{B5D5C18C-E3BE-9F7B-0F4C-7858D2DAB124}"/>
              </a:ext>
            </a:extLst>
          </p:cNvPr>
          <p:cNvGrpSpPr/>
          <p:nvPr/>
        </p:nvGrpSpPr>
        <p:grpSpPr>
          <a:xfrm>
            <a:off x="8890247" y="2681697"/>
            <a:ext cx="588640" cy="588640"/>
            <a:chOff x="8890247" y="2681697"/>
            <a:chExt cx="588640" cy="588640"/>
          </a:xfrm>
        </p:grpSpPr>
        <p:pic>
          <p:nvPicPr>
            <p:cNvPr id="145" name="Graphic 144">
              <a:extLst>
                <a:ext uri="{FF2B5EF4-FFF2-40B4-BE49-F238E27FC236}">
                  <a16:creationId xmlns:a16="http://schemas.microsoft.com/office/drawing/2014/main" id="{CC8B7739-2CF8-66FE-F674-E4E43C2D109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939646" y="2808875"/>
              <a:ext cx="489842" cy="334285"/>
            </a:xfrm>
            <a:prstGeom prst="rect">
              <a:avLst/>
            </a:prstGeom>
          </p:spPr>
        </p:pic>
        <p:sp>
          <p:nvSpPr>
            <p:cNvPr id="45" name="Rectangle 44">
              <a:extLst>
                <a:ext uri="{FF2B5EF4-FFF2-40B4-BE49-F238E27FC236}">
                  <a16:creationId xmlns:a16="http://schemas.microsoft.com/office/drawing/2014/main" id="{3FD57F18-97EC-171F-1428-758EB2A5C352}"/>
                </a:ext>
              </a:extLst>
            </p:cNvPr>
            <p:cNvSpPr/>
            <p:nvPr/>
          </p:nvSpPr>
          <p:spPr>
            <a:xfrm>
              <a:off x="8890247"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7" name="Group 156">
            <a:extLst>
              <a:ext uri="{FF2B5EF4-FFF2-40B4-BE49-F238E27FC236}">
                <a16:creationId xmlns:a16="http://schemas.microsoft.com/office/drawing/2014/main" id="{FC482A45-76B5-2E74-7AC0-0659BCD1E64F}"/>
              </a:ext>
            </a:extLst>
          </p:cNvPr>
          <p:cNvGrpSpPr/>
          <p:nvPr/>
        </p:nvGrpSpPr>
        <p:grpSpPr>
          <a:xfrm>
            <a:off x="8890247" y="1833863"/>
            <a:ext cx="588640" cy="588640"/>
            <a:chOff x="8890247" y="1833863"/>
            <a:chExt cx="588640" cy="588640"/>
          </a:xfrm>
        </p:grpSpPr>
        <p:pic>
          <p:nvPicPr>
            <p:cNvPr id="155" name="Graphic 154">
              <a:extLst>
                <a:ext uri="{FF2B5EF4-FFF2-40B4-BE49-F238E27FC236}">
                  <a16:creationId xmlns:a16="http://schemas.microsoft.com/office/drawing/2014/main" id="{A04B66BF-C35C-6CF6-5878-070EFA4B9CD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957265" y="1861065"/>
              <a:ext cx="454605" cy="526765"/>
            </a:xfrm>
            <a:prstGeom prst="rect">
              <a:avLst/>
            </a:prstGeom>
          </p:spPr>
        </p:pic>
        <p:sp>
          <p:nvSpPr>
            <p:cNvPr id="47" name="Rectangle 46">
              <a:extLst>
                <a:ext uri="{FF2B5EF4-FFF2-40B4-BE49-F238E27FC236}">
                  <a16:creationId xmlns:a16="http://schemas.microsoft.com/office/drawing/2014/main" id="{B193E56E-75EB-F0E7-4D2F-D90F5107F535}"/>
                </a:ext>
              </a:extLst>
            </p:cNvPr>
            <p:cNvSpPr/>
            <p:nvPr/>
          </p:nvSpPr>
          <p:spPr>
            <a:xfrm>
              <a:off x="8890247" y="1833863"/>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3" name="Rectangle 52">
            <a:extLst>
              <a:ext uri="{FF2B5EF4-FFF2-40B4-BE49-F238E27FC236}">
                <a16:creationId xmlns:a16="http://schemas.microsoft.com/office/drawing/2014/main" id="{45AEF4F7-2394-725C-C1D4-2A71E2071AA2}"/>
              </a:ext>
            </a:extLst>
          </p:cNvPr>
          <p:cNvSpPr/>
          <p:nvPr/>
        </p:nvSpPr>
        <p:spPr>
          <a:xfrm>
            <a:off x="6343189"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2" name="Group 141">
            <a:extLst>
              <a:ext uri="{FF2B5EF4-FFF2-40B4-BE49-F238E27FC236}">
                <a16:creationId xmlns:a16="http://schemas.microsoft.com/office/drawing/2014/main" id="{6F355A3E-4E96-AE13-8FA0-E27EE24286F7}"/>
              </a:ext>
            </a:extLst>
          </p:cNvPr>
          <p:cNvGrpSpPr/>
          <p:nvPr/>
        </p:nvGrpSpPr>
        <p:grpSpPr>
          <a:xfrm>
            <a:off x="6309047" y="4377365"/>
            <a:ext cx="588640" cy="588640"/>
            <a:chOff x="6309047" y="4377365"/>
            <a:chExt cx="588640" cy="588640"/>
          </a:xfrm>
        </p:grpSpPr>
        <p:pic>
          <p:nvPicPr>
            <p:cNvPr id="141" name="Graphic 140">
              <a:extLst>
                <a:ext uri="{FF2B5EF4-FFF2-40B4-BE49-F238E27FC236}">
                  <a16:creationId xmlns:a16="http://schemas.microsoft.com/office/drawing/2014/main" id="{53BB2219-3693-2A92-1C54-4A950837C02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314243" y="4411269"/>
              <a:ext cx="578248" cy="520834"/>
            </a:xfrm>
            <a:prstGeom prst="rect">
              <a:avLst/>
            </a:prstGeom>
          </p:spPr>
        </p:pic>
        <p:sp>
          <p:nvSpPr>
            <p:cNvPr id="59" name="Rectangle 58">
              <a:extLst>
                <a:ext uri="{FF2B5EF4-FFF2-40B4-BE49-F238E27FC236}">
                  <a16:creationId xmlns:a16="http://schemas.microsoft.com/office/drawing/2014/main" id="{40C3D33E-BE60-A856-6282-D9D835FD1047}"/>
                </a:ext>
              </a:extLst>
            </p:cNvPr>
            <p:cNvSpPr/>
            <p:nvPr/>
          </p:nvSpPr>
          <p:spPr>
            <a:xfrm>
              <a:off x="6309047" y="4377365"/>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301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4</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Covid-19 caused massive supply chain disruptions and resulted in businesses being unable to fulfil demand.</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BD5C24A8-EB5A-24EF-592C-F7BC58E2F48B}"/>
              </a:ext>
            </a:extLst>
          </p:cNvPr>
          <p:cNvPicPr>
            <a:picLocks noChangeAspect="1"/>
          </p:cNvPicPr>
          <p:nvPr/>
        </p:nvPicPr>
        <p:blipFill>
          <a:blip r:embed="rId2"/>
          <a:stretch>
            <a:fillRect/>
          </a:stretch>
        </p:blipFill>
        <p:spPr>
          <a:xfrm>
            <a:off x="1133354" y="2127245"/>
            <a:ext cx="7772400" cy="2439669"/>
          </a:xfrm>
          <a:prstGeom prst="rect">
            <a:avLst/>
          </a:prstGeom>
        </p:spPr>
      </p:pic>
    </p:spTree>
    <p:extLst>
      <p:ext uri="{BB962C8B-B14F-4D97-AF65-F5344CB8AC3E}">
        <p14:creationId xmlns:p14="http://schemas.microsoft.com/office/powerpoint/2010/main" val="1567152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5</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This led to many recommendations to focus on increasing inventory levels even though it comes at the expense of profit.</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FC76113-770D-6133-8CE5-D32B01BB6134}"/>
              </a:ext>
            </a:extLst>
          </p:cNvPr>
          <p:cNvPicPr>
            <a:picLocks noChangeAspect="1"/>
          </p:cNvPicPr>
          <p:nvPr/>
        </p:nvPicPr>
        <p:blipFill>
          <a:blip r:embed="rId2"/>
          <a:stretch>
            <a:fillRect/>
          </a:stretch>
        </p:blipFill>
        <p:spPr>
          <a:xfrm>
            <a:off x="2209800" y="2800191"/>
            <a:ext cx="7772400" cy="1257617"/>
          </a:xfrm>
          <a:prstGeom prst="rect">
            <a:avLst/>
          </a:prstGeom>
        </p:spPr>
      </p:pic>
      <p:pic>
        <p:nvPicPr>
          <p:cNvPr id="5" name="Picture 4">
            <a:extLst>
              <a:ext uri="{FF2B5EF4-FFF2-40B4-BE49-F238E27FC236}">
                <a16:creationId xmlns:a16="http://schemas.microsoft.com/office/drawing/2014/main" id="{021EC901-CAF6-39F7-E0E1-2C4F340EE12A}"/>
              </a:ext>
            </a:extLst>
          </p:cNvPr>
          <p:cNvPicPr>
            <a:picLocks noChangeAspect="1"/>
          </p:cNvPicPr>
          <p:nvPr/>
        </p:nvPicPr>
        <p:blipFill>
          <a:blip r:embed="rId3"/>
          <a:stretch>
            <a:fillRect/>
          </a:stretch>
        </p:blipFill>
        <p:spPr>
          <a:xfrm>
            <a:off x="2441294" y="4441942"/>
            <a:ext cx="7772400" cy="2881782"/>
          </a:xfrm>
          <a:prstGeom prst="rect">
            <a:avLst/>
          </a:prstGeom>
        </p:spPr>
      </p:pic>
    </p:spTree>
    <p:extLst>
      <p:ext uri="{BB962C8B-B14F-4D97-AF65-F5344CB8AC3E}">
        <p14:creationId xmlns:p14="http://schemas.microsoft.com/office/powerpoint/2010/main" val="2851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6</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we think that the JIT system does not maximize profits and the best supply chain strategy involves actively maintaining a healthy buffer.</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4829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7</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DATA</a:t>
            </a:r>
            <a:br>
              <a:rPr lang="en-US" dirty="0"/>
            </a:br>
            <a:r>
              <a:rPr lang="en-GB" sz="2400" b="0" cap="none" dirty="0">
                <a:latin typeface="Arial" panose="020B0604020202020204" pitchFamily="34" charset="0"/>
                <a:cs typeface="Arial" panose="020B0604020202020204" pitchFamily="34" charset="0"/>
              </a:rPr>
              <a:t>We collected data from multiple sources and combined them with simplifying assumptions.</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5376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8</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METHODS</a:t>
            </a:r>
            <a:br>
              <a:rPr lang="en-US" dirty="0"/>
            </a:br>
            <a:r>
              <a:rPr lang="en-GB" sz="2400" b="0" cap="none" dirty="0">
                <a:latin typeface="Arial" panose="020B0604020202020204" pitchFamily="34" charset="0"/>
                <a:cs typeface="Arial" panose="020B0604020202020204" pitchFamily="34" charset="0"/>
              </a:rPr>
              <a:t>We used a mixed-integer optimization model to generate recommendations for inventory levels, production and supplier diversity.</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3085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9</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9" name="Picture 8" descr="A graph of profit improvement&#10;&#10;Description automatically generated">
            <a:extLst>
              <a:ext uri="{FF2B5EF4-FFF2-40B4-BE49-F238E27FC236}">
                <a16:creationId xmlns:a16="http://schemas.microsoft.com/office/drawing/2014/main" id="{6EFE3F0C-CF49-F3E8-E88B-22EB16C23E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8887" y="875431"/>
            <a:ext cx="6601934" cy="5541925"/>
          </a:xfrm>
          <a:prstGeom prst="rect">
            <a:avLst/>
          </a:prstGeom>
        </p:spPr>
      </p:pic>
    </p:spTree>
    <p:extLst>
      <p:ext uri="{BB962C8B-B14F-4D97-AF65-F5344CB8AC3E}">
        <p14:creationId xmlns:p14="http://schemas.microsoft.com/office/powerpoint/2010/main" val="5696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868129a7-ca83-42bc-a1b1-f54d855bdda2"/>
  <p:tag name="MIO_EKGUID" val="8ec1660f-ee91-4265-9d12-d30d772ab2f2"/>
  <p:tag name="MIO_UPDATE" val="True"/>
  <p:tag name="MIO_VERSION" val="03.09.2019 14:10:23"/>
  <p:tag name="MIO_DBID" val="87A03D9D-CC3D-4AF4-A54F-54450A4A21F0"/>
  <p:tag name="MIO_LASTDOWNLOADED" val="03.09.2019 11:10:22"/>
  <p:tag name="MIO_OBJECTNAME" val="Line Chart"/>
  <p:tag name="MIO_LASTEDITORNAME" val="johan "/>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ADDA77-3326-4952-8EB6-098CD7AE2F3F}">
  <ds:schemaRefs>
    <ds:schemaRef ds:uri="http://schemas.microsoft.com/office/2006/metadata/properties"/>
    <ds:schemaRef ds:uri="a5bf85ab-5b89-45d5-812d-d881043611a5"/>
    <ds:schemaRef ds:uri="http://www.w3.org/XML/1998/namespace"/>
    <ds:schemaRef ds:uri="http://purl.org/dc/term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7097b299-c2ac-4eb1-aec2-08cd1aa2aff0"/>
    <ds:schemaRef ds:uri="http://purl.org/dc/dcmitype/"/>
  </ds:schemaRefs>
</ds:datastoreItem>
</file>

<file path=customXml/itemProps2.xml><?xml version="1.0" encoding="utf-8"?>
<ds:datastoreItem xmlns:ds="http://schemas.openxmlformats.org/officeDocument/2006/customXml" ds:itemID="{73456697-91D3-40E4-9E25-ACB00D34D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7b299-c2ac-4eb1-aec2-08cd1aa2aff0"/>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FB81A3-EB9C-4B5B-84A8-3AF39DB38F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9</TotalTime>
  <Words>1265</Words>
  <Application>Microsoft Macintosh PowerPoint</Application>
  <PresentationFormat>Widescreen</PresentationFormat>
  <Paragraphs>160</Paragraphs>
  <Slides>31</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1</vt:i4>
      </vt:variant>
    </vt:vector>
  </HeadingPairs>
  <TitlesOfParts>
    <vt:vector size="37" baseType="lpstr">
      <vt:lpstr>Arial</vt:lpstr>
      <vt:lpstr>Arial Black</vt:lpstr>
      <vt:lpstr>Calibri</vt:lpstr>
      <vt:lpstr>Helvetica Neue</vt:lpstr>
      <vt:lpstr>Segoe UI</vt:lpstr>
      <vt:lpstr>MIT </vt:lpstr>
      <vt:lpstr>Is Just-in-Time really the most profitable supply chain strategy for Nike in an uncertain world?</vt:lpstr>
      <vt:lpstr>Problem and motivation Before Covid-19, businesses focused on perfecting a Just-in-Time (JIT) system to maximize profits.</vt:lpstr>
      <vt:lpstr>Problem and motivation Before Covid-19, businesses focused on perfecting a Just-in-Time (JIT) system to maximize profits.</vt:lpstr>
      <vt:lpstr>Problem and motivation But Covid-19 caused massive supply chain disruptions and resulted in businesses being unable to fulfil demand.</vt:lpstr>
      <vt:lpstr>Problem and motivation This led to many recommendations to focus on increasing inventory levels even though it comes at the expense of profit.</vt:lpstr>
      <vt:lpstr>Problem and motivation But we think that the JIT system does not maximize profits and the best supply chain strategy involves actively maintaining a healthy buffer.</vt:lpstr>
      <vt:lpstr>DATA We collected data from multiple sources and combined them with simplifying assumptions.</vt:lpstr>
      <vt:lpstr>METHODS We used a mixed-integer optimization model to generate recommendations for inventory levels, production and supplier diversity.</vt:lpstr>
      <vt:lpstr>Key findings We found that ….</vt:lpstr>
      <vt:lpstr>Key findings We found that ….</vt:lpstr>
      <vt:lpstr>Key findings We found that ….</vt:lpstr>
      <vt:lpstr>impact Our findings suggest that </vt:lpstr>
      <vt:lpstr>PowerPoint Presentation</vt:lpstr>
      <vt:lpstr>Two content with heading</vt:lpstr>
      <vt:lpstr>Comparison</vt:lpstr>
      <vt:lpstr>3 Column with subtitles</vt:lpstr>
      <vt:lpstr>4 Column with Subtitles</vt:lpstr>
      <vt:lpstr>Title Only Slide </vt:lpstr>
      <vt:lpstr>PowerPoint Presentation</vt:lpstr>
      <vt:lpstr>PowerPoint Presentation</vt:lpstr>
      <vt:lpstr>PowerPoint Presentation</vt:lpstr>
      <vt:lpstr>4 Phase Layout</vt:lpstr>
      <vt:lpstr>Image with caption layout</vt:lpstr>
      <vt:lpstr>4 Pictures with Caption</vt:lpstr>
      <vt:lpstr>4 Pictures / 4 Text Panels</vt:lpstr>
      <vt:lpstr>Line Graph</vt:lpstr>
      <vt:lpstr>Useful Assets.  </vt:lpstr>
      <vt:lpstr>Icons (Color)</vt:lpstr>
      <vt:lpstr>Icons (Color)</vt:lpstr>
      <vt:lpstr>Icons (Greyscale)</vt:lpstr>
      <vt:lpstr>Icons (Grey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lastModifiedBy>Jason Jia</cp:lastModifiedBy>
  <cp:revision>7</cp:revision>
  <dcterms:created xsi:type="dcterms:W3CDTF">2022-06-27T07:10:21Z</dcterms:created>
  <dcterms:modified xsi:type="dcterms:W3CDTF">2023-12-07T04:3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